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2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3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4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41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5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61" r:id="rId8"/>
    <p:sldId id="1993" r:id="rId9"/>
    <p:sldId id="2029" r:id="rId10"/>
    <p:sldId id="1945" r:id="rId11"/>
    <p:sldId id="1962" r:id="rId12"/>
    <p:sldId id="1994" r:id="rId13"/>
    <p:sldId id="1996" r:id="rId14"/>
    <p:sldId id="2030" r:id="rId15"/>
    <p:sldId id="2047" r:id="rId16"/>
    <p:sldId id="2064" r:id="rId17"/>
    <p:sldId id="2065" r:id="rId18"/>
    <p:sldId id="2066" r:id="rId19"/>
    <p:sldId id="2067" r:id="rId20"/>
    <p:sldId id="2068" r:id="rId21"/>
    <p:sldId id="2069" r:id="rId22"/>
    <p:sldId id="2070" r:id="rId23"/>
    <p:sldId id="2071" r:id="rId24"/>
    <p:sldId id="2072" r:id="rId25"/>
    <p:sldId id="2073" r:id="rId26"/>
    <p:sldId id="2074" r:id="rId27"/>
    <p:sldId id="2075" r:id="rId28"/>
    <p:sldId id="2076" r:id="rId29"/>
    <p:sldId id="2077" r:id="rId30"/>
    <p:sldId id="2078" r:id="rId31"/>
    <p:sldId id="1942" r:id="rId32"/>
    <p:sldId id="1474" r:id="rId33"/>
    <p:sldId id="1481" r:id="rId34"/>
    <p:sldId id="1482" r:id="rId35"/>
    <p:sldId id="1475" r:id="rId36"/>
    <p:sldId id="1483" r:id="rId37"/>
    <p:sldId id="1923" r:id="rId38"/>
    <p:sldId id="1476" r:id="rId39"/>
    <p:sldId id="1523" r:id="rId40"/>
    <p:sldId id="1524" r:id="rId41"/>
    <p:sldId id="1595" r:id="rId42"/>
    <p:sldId id="1639" r:id="rId43"/>
    <p:sldId id="1802" r:id="rId44"/>
    <p:sldId id="1829" r:id="rId45"/>
    <p:sldId id="1823" r:id="rId46"/>
    <p:sldId id="1845" r:id="rId47"/>
    <p:sldId id="1864" r:id="rId48"/>
    <p:sldId id="1866" r:id="rId49"/>
    <p:sldId id="1886" r:id="rId50"/>
    <p:sldId id="1528" r:id="rId51"/>
    <p:sldId id="1530" r:id="rId52"/>
    <p:sldId id="1571" r:id="rId53"/>
    <p:sldId id="1572" r:id="rId54"/>
    <p:sldId id="1596" r:id="rId55"/>
    <p:sldId id="1615" r:id="rId56"/>
    <p:sldId id="1617" r:id="rId57"/>
    <p:sldId id="1641" r:id="rId58"/>
    <p:sldId id="1784" r:id="rId59"/>
    <p:sldId id="1804" r:id="rId60"/>
    <p:sldId id="1888" r:id="rId61"/>
    <p:sldId id="1907" r:id="rId62"/>
    <p:sldId id="1592" r:id="rId63"/>
    <p:sldId id="1593" r:id="rId64"/>
  </p:sldIdLst>
  <p:sldSz cx="12192000" cy="6858000"/>
  <p:notesSz cx="6858000" cy="9144000"/>
  <p:custDataLst>
    <p:tags r:id="rId6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000FF"/>
    <a:srgbClr val="FCE34E"/>
    <a:srgbClr val="FFFF00"/>
    <a:srgbClr val="E4F828"/>
    <a:srgbClr val="000000"/>
    <a:srgbClr val="00FF00"/>
    <a:srgbClr val="FF9966"/>
    <a:srgbClr val="FF9933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61" autoAdjust="0"/>
    <p:restoredTop sz="96400" autoAdjust="0"/>
  </p:normalViewPr>
  <p:slideViewPr>
    <p:cSldViewPr snapToGrid="0">
      <p:cViewPr>
        <p:scale>
          <a:sx n="100" d="100"/>
          <a:sy n="100" d="100"/>
        </p:scale>
        <p:origin x="1158" y="34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gs" Target="tags/tag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T$1</c:f>
              <c:strCache>
                <c:ptCount val="97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  <c:pt idx="82">
                  <c:v>22.11.–28.11.</c:v>
                </c:pt>
                <c:pt idx="83">
                  <c:v>29.11.–5.12.</c:v>
                </c:pt>
                <c:pt idx="84">
                  <c:v>6.12.–12.12.</c:v>
                </c:pt>
                <c:pt idx="85">
                  <c:v>13.12.–19.12.</c:v>
                </c:pt>
                <c:pt idx="86">
                  <c:v>20.12.–26.12.</c:v>
                </c:pt>
                <c:pt idx="87">
                  <c:v>27.12.–2.1.</c:v>
                </c:pt>
                <c:pt idx="88">
                  <c:v>3.1.–9.1.</c:v>
                </c:pt>
                <c:pt idx="89">
                  <c:v>10.1.–16.1.</c:v>
                </c:pt>
                <c:pt idx="90">
                  <c:v>17.1.–23.1.</c:v>
                </c:pt>
                <c:pt idx="91">
                  <c:v>24.1.–30.1.</c:v>
                </c:pt>
                <c:pt idx="92">
                  <c:v>31.1.–6.2.</c:v>
                </c:pt>
                <c:pt idx="93">
                  <c:v>7.2.–13.2.</c:v>
                </c:pt>
                <c:pt idx="94">
                  <c:v>14.2.–20.2.</c:v>
                </c:pt>
                <c:pt idx="95">
                  <c:v>21.2.–27.2.</c:v>
                </c:pt>
                <c:pt idx="96">
                  <c:v>28.2.–6.3.</c:v>
                </c:pt>
              </c:strCache>
            </c:strRef>
          </c:cat>
          <c:val>
            <c:numRef>
              <c:f>List1!$B$2:$CT$2</c:f>
              <c:numCache>
                <c:formatCode>General</c:formatCode>
                <c:ptCount val="97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65</c:v>
                </c:pt>
                <c:pt idx="79">
                  <c:v>313</c:v>
                </c:pt>
                <c:pt idx="80">
                  <c:v>90</c:v>
                </c:pt>
                <c:pt idx="81">
                  <c:v>107</c:v>
                </c:pt>
                <c:pt idx="82">
                  <c:v>119</c:v>
                </c:pt>
                <c:pt idx="83">
                  <c:v>105</c:v>
                </c:pt>
                <c:pt idx="84">
                  <c:v>173</c:v>
                </c:pt>
                <c:pt idx="85">
                  <c:v>106</c:v>
                </c:pt>
                <c:pt idx="86">
                  <c:v>70</c:v>
                </c:pt>
                <c:pt idx="87">
                  <c:v>154</c:v>
                </c:pt>
                <c:pt idx="88">
                  <c:v>46</c:v>
                </c:pt>
                <c:pt idx="89">
                  <c:v>28</c:v>
                </c:pt>
                <c:pt idx="90">
                  <c:v>250</c:v>
                </c:pt>
                <c:pt idx="91">
                  <c:v>306</c:v>
                </c:pt>
                <c:pt idx="92">
                  <c:v>481</c:v>
                </c:pt>
                <c:pt idx="93">
                  <c:v>784</c:v>
                </c:pt>
                <c:pt idx="94">
                  <c:v>332</c:v>
                </c:pt>
                <c:pt idx="95">
                  <c:v>251</c:v>
                </c:pt>
                <c:pt idx="96">
                  <c:v>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dLbl>
              <c:idx val="0"/>
              <c:layout>
                <c:manualLayout>
                  <c:x val="-0.1764062209815882"/>
                  <c:y val="-8.371227168708224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631503403883819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E22-41E2-BAC0-9FFA33A42325}"/>
                </c:ext>
              </c:extLst>
            </c:dLbl>
            <c:dLbl>
              <c:idx val="1"/>
              <c:layout>
                <c:manualLayout>
                  <c:x val="0.13720483854123527"/>
                  <c:y val="0.1316880742377890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751296037830877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E22-41E2-BAC0-9FFA33A423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66500000000000004</c:v>
                </c:pt>
                <c:pt idx="1">
                  <c:v>0.335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9.9717101834593827E-2"/>
                  <c:y val="-0.1561408035267773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510648422761702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894669692341171"/>
                      <c:h val="9.535458664435128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999</c:v>
                </c:pt>
                <c:pt idx="1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2.6849345794777161E-2"/>
                  <c:y val="4.31646164634209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6699999999999999</c:v>
                </c:pt>
                <c:pt idx="1">
                  <c:v>0.133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11796735173054548"/>
                  <c:y val="-0.1503617376695439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430786666796995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4.5361967148006825E-2"/>
                  <c:y val="8.462190575390189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775961527084196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92600000000000005</c:v>
                </c:pt>
                <c:pt idx="1">
                  <c:v>7.39999999999999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1678566292919781"/>
          <c:y val="9.8724301501472447E-2"/>
          <c:w val="0.86222309884669401"/>
          <c:h val="0.66944541343353126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52</c:f>
              <c:numCache>
                <c:formatCode>m/d/yyyy</c:formatCode>
                <c:ptCount val="5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</c:numCache>
            </c:numRef>
          </c:cat>
          <c:val>
            <c:numRef>
              <c:f>List1!$B$2:$B$552</c:f>
              <c:numCache>
                <c:formatCode>General</c:formatCode>
                <c:ptCount val="551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4</c:v>
                </c:pt>
                <c:pt idx="15">
                  <c:v>14</c:v>
                </c:pt>
                <c:pt idx="16">
                  <c:v>14</c:v>
                </c:pt>
                <c:pt idx="17">
                  <c:v>16</c:v>
                </c:pt>
                <c:pt idx="18">
                  <c:v>17</c:v>
                </c:pt>
                <c:pt idx="19">
                  <c:v>21</c:v>
                </c:pt>
                <c:pt idx="20">
                  <c:v>22</c:v>
                </c:pt>
                <c:pt idx="21">
                  <c:v>23</c:v>
                </c:pt>
                <c:pt idx="22">
                  <c:v>24</c:v>
                </c:pt>
                <c:pt idx="23">
                  <c:v>27</c:v>
                </c:pt>
                <c:pt idx="24">
                  <c:v>28</c:v>
                </c:pt>
                <c:pt idx="25">
                  <c:v>33</c:v>
                </c:pt>
                <c:pt idx="26">
                  <c:v>38</c:v>
                </c:pt>
                <c:pt idx="27">
                  <c:v>41</c:v>
                </c:pt>
                <c:pt idx="28">
                  <c:v>46</c:v>
                </c:pt>
                <c:pt idx="29">
                  <c:v>74</c:v>
                </c:pt>
                <c:pt idx="30">
                  <c:v>105</c:v>
                </c:pt>
                <c:pt idx="31">
                  <c:v>167</c:v>
                </c:pt>
                <c:pt idx="32">
                  <c:v>203</c:v>
                </c:pt>
                <c:pt idx="33">
                  <c:v>257</c:v>
                </c:pt>
                <c:pt idx="34">
                  <c:v>424</c:v>
                </c:pt>
                <c:pt idx="35">
                  <c:v>506</c:v>
                </c:pt>
                <c:pt idx="36">
                  <c:v>551</c:v>
                </c:pt>
                <c:pt idx="37">
                  <c:v>630</c:v>
                </c:pt>
                <c:pt idx="38">
                  <c:v>769</c:v>
                </c:pt>
                <c:pt idx="39">
                  <c:v>799</c:v>
                </c:pt>
                <c:pt idx="40">
                  <c:v>812</c:v>
                </c:pt>
                <c:pt idx="41">
                  <c:v>951</c:v>
                </c:pt>
                <c:pt idx="42">
                  <c:v>1176</c:v>
                </c:pt>
                <c:pt idx="43">
                  <c:v>1357</c:v>
                </c:pt>
                <c:pt idx="44">
                  <c:v>1560</c:v>
                </c:pt>
                <c:pt idx="45">
                  <c:v>1766</c:v>
                </c:pt>
                <c:pt idx="46">
                  <c:v>1923</c:v>
                </c:pt>
                <c:pt idx="47">
                  <c:v>1964</c:v>
                </c:pt>
                <c:pt idx="48">
                  <c:v>2210</c:v>
                </c:pt>
                <c:pt idx="49">
                  <c:v>2413</c:v>
                </c:pt>
                <c:pt idx="50">
                  <c:v>2740</c:v>
                </c:pt>
                <c:pt idx="51">
                  <c:v>2978</c:v>
                </c:pt>
                <c:pt idx="52">
                  <c:v>3402</c:v>
                </c:pt>
                <c:pt idx="53">
                  <c:v>3631</c:v>
                </c:pt>
                <c:pt idx="54">
                  <c:v>3829</c:v>
                </c:pt>
                <c:pt idx="55">
                  <c:v>4220</c:v>
                </c:pt>
                <c:pt idx="56">
                  <c:v>4756</c:v>
                </c:pt>
                <c:pt idx="57">
                  <c:v>5022</c:v>
                </c:pt>
                <c:pt idx="58">
                  <c:v>5569</c:v>
                </c:pt>
                <c:pt idx="59">
                  <c:v>6158</c:v>
                </c:pt>
                <c:pt idx="60">
                  <c:v>6497</c:v>
                </c:pt>
                <c:pt idx="61">
                  <c:v>6712</c:v>
                </c:pt>
                <c:pt idx="62">
                  <c:v>7049</c:v>
                </c:pt>
                <c:pt idx="63">
                  <c:v>7398</c:v>
                </c:pt>
                <c:pt idx="64">
                  <c:v>7824</c:v>
                </c:pt>
                <c:pt idx="65">
                  <c:v>8365</c:v>
                </c:pt>
                <c:pt idx="66">
                  <c:v>8861</c:v>
                </c:pt>
                <c:pt idx="67">
                  <c:v>9077</c:v>
                </c:pt>
                <c:pt idx="68">
                  <c:v>9158</c:v>
                </c:pt>
                <c:pt idx="69">
                  <c:v>9365</c:v>
                </c:pt>
                <c:pt idx="70">
                  <c:v>9752</c:v>
                </c:pt>
                <c:pt idx="71">
                  <c:v>10434</c:v>
                </c:pt>
                <c:pt idx="72">
                  <c:v>10937</c:v>
                </c:pt>
                <c:pt idx="73">
                  <c:v>11423</c:v>
                </c:pt>
                <c:pt idx="74">
                  <c:v>11608</c:v>
                </c:pt>
                <c:pt idx="75">
                  <c:v>11778</c:v>
                </c:pt>
                <c:pt idx="76">
                  <c:v>12169</c:v>
                </c:pt>
                <c:pt idx="77">
                  <c:v>12308</c:v>
                </c:pt>
                <c:pt idx="78">
                  <c:v>12579</c:v>
                </c:pt>
                <c:pt idx="79">
                  <c:v>12854</c:v>
                </c:pt>
                <c:pt idx="80">
                  <c:v>13098</c:v>
                </c:pt>
                <c:pt idx="81">
                  <c:v>13193</c:v>
                </c:pt>
                <c:pt idx="82">
                  <c:v>13285</c:v>
                </c:pt>
                <c:pt idx="83">
                  <c:v>13669</c:v>
                </c:pt>
                <c:pt idx="84">
                  <c:v>13870</c:v>
                </c:pt>
                <c:pt idx="85">
                  <c:v>14001</c:v>
                </c:pt>
                <c:pt idx="86">
                  <c:v>14200</c:v>
                </c:pt>
                <c:pt idx="87">
                  <c:v>14340</c:v>
                </c:pt>
                <c:pt idx="88">
                  <c:v>14418</c:v>
                </c:pt>
                <c:pt idx="89">
                  <c:v>14447</c:v>
                </c:pt>
                <c:pt idx="90">
                  <c:v>14660</c:v>
                </c:pt>
                <c:pt idx="91">
                  <c:v>14784</c:v>
                </c:pt>
                <c:pt idx="92">
                  <c:v>14919</c:v>
                </c:pt>
                <c:pt idx="93">
                  <c:v>15050</c:v>
                </c:pt>
                <c:pt idx="94">
                  <c:v>15199</c:v>
                </c:pt>
                <c:pt idx="95">
                  <c:v>15289</c:v>
                </c:pt>
                <c:pt idx="96">
                  <c:v>15311</c:v>
                </c:pt>
                <c:pt idx="97">
                  <c:v>15454</c:v>
                </c:pt>
                <c:pt idx="98">
                  <c:v>15545</c:v>
                </c:pt>
                <c:pt idx="99">
                  <c:v>15686</c:v>
                </c:pt>
                <c:pt idx="100">
                  <c:v>15771</c:v>
                </c:pt>
                <c:pt idx="101">
                  <c:v>16011</c:v>
                </c:pt>
                <c:pt idx="102">
                  <c:v>16078</c:v>
                </c:pt>
                <c:pt idx="103">
                  <c:v>16128</c:v>
                </c:pt>
                <c:pt idx="104">
                  <c:v>16278</c:v>
                </c:pt>
                <c:pt idx="105">
                  <c:v>16412</c:v>
                </c:pt>
                <c:pt idx="106">
                  <c:v>16512</c:v>
                </c:pt>
                <c:pt idx="107">
                  <c:v>16582</c:v>
                </c:pt>
                <c:pt idx="108">
                  <c:v>16805</c:v>
                </c:pt>
                <c:pt idx="109">
                  <c:v>16866</c:v>
                </c:pt>
                <c:pt idx="110">
                  <c:v>16888</c:v>
                </c:pt>
                <c:pt idx="111">
                  <c:v>17068</c:v>
                </c:pt>
                <c:pt idx="112">
                  <c:v>17246</c:v>
                </c:pt>
                <c:pt idx="113">
                  <c:v>17370</c:v>
                </c:pt>
                <c:pt idx="114">
                  <c:v>17388</c:v>
                </c:pt>
                <c:pt idx="115">
                  <c:v>17460</c:v>
                </c:pt>
                <c:pt idx="116">
                  <c:v>17540</c:v>
                </c:pt>
                <c:pt idx="117">
                  <c:v>17638</c:v>
                </c:pt>
                <c:pt idx="118">
                  <c:v>17804</c:v>
                </c:pt>
                <c:pt idx="119">
                  <c:v>17990</c:v>
                </c:pt>
                <c:pt idx="120">
                  <c:v>18139</c:v>
                </c:pt>
                <c:pt idx="121">
                  <c:v>18275</c:v>
                </c:pt>
                <c:pt idx="122">
                  <c:v>18342</c:v>
                </c:pt>
                <c:pt idx="123">
                  <c:v>18404</c:v>
                </c:pt>
                <c:pt idx="124">
                  <c:v>18447</c:v>
                </c:pt>
                <c:pt idx="125">
                  <c:v>18717</c:v>
                </c:pt>
                <c:pt idx="126">
                  <c:v>18873</c:v>
                </c:pt>
                <c:pt idx="127">
                  <c:v>19036</c:v>
                </c:pt>
                <c:pt idx="128">
                  <c:v>19270</c:v>
                </c:pt>
                <c:pt idx="129">
                  <c:v>19459</c:v>
                </c:pt>
                <c:pt idx="130">
                  <c:v>19524</c:v>
                </c:pt>
                <c:pt idx="131">
                  <c:v>19560</c:v>
                </c:pt>
                <c:pt idx="132">
                  <c:v>19804</c:v>
                </c:pt>
                <c:pt idx="133">
                  <c:v>19934</c:v>
                </c:pt>
                <c:pt idx="134">
                  <c:v>20109</c:v>
                </c:pt>
                <c:pt idx="135">
                  <c:v>20207</c:v>
                </c:pt>
                <c:pt idx="136">
                  <c:v>20297</c:v>
                </c:pt>
                <c:pt idx="137">
                  <c:v>20332</c:v>
                </c:pt>
                <c:pt idx="138">
                  <c:v>20379</c:v>
                </c:pt>
                <c:pt idx="139">
                  <c:v>20545</c:v>
                </c:pt>
                <c:pt idx="140">
                  <c:v>20629</c:v>
                </c:pt>
                <c:pt idx="141">
                  <c:v>20776</c:v>
                </c:pt>
                <c:pt idx="142">
                  <c:v>20884</c:v>
                </c:pt>
                <c:pt idx="143">
                  <c:v>21003</c:v>
                </c:pt>
                <c:pt idx="144">
                  <c:v>21056</c:v>
                </c:pt>
                <c:pt idx="145">
                  <c:v>21082</c:v>
                </c:pt>
                <c:pt idx="146">
                  <c:v>21169</c:v>
                </c:pt>
                <c:pt idx="147">
                  <c:v>21212</c:v>
                </c:pt>
                <c:pt idx="148">
                  <c:v>21308</c:v>
                </c:pt>
                <c:pt idx="149">
                  <c:v>21375</c:v>
                </c:pt>
                <c:pt idx="150">
                  <c:v>21413</c:v>
                </c:pt>
                <c:pt idx="151">
                  <c:v>21462</c:v>
                </c:pt>
                <c:pt idx="152">
                  <c:v>21472</c:v>
                </c:pt>
                <c:pt idx="153">
                  <c:v>21580</c:v>
                </c:pt>
                <c:pt idx="154">
                  <c:v>21678</c:v>
                </c:pt>
                <c:pt idx="155">
                  <c:v>21781</c:v>
                </c:pt>
                <c:pt idx="156">
                  <c:v>21866</c:v>
                </c:pt>
                <c:pt idx="157">
                  <c:v>21953</c:v>
                </c:pt>
                <c:pt idx="158">
                  <c:v>21997</c:v>
                </c:pt>
                <c:pt idx="159">
                  <c:v>22013</c:v>
                </c:pt>
                <c:pt idx="160">
                  <c:v>22079</c:v>
                </c:pt>
                <c:pt idx="161">
                  <c:v>22145</c:v>
                </c:pt>
                <c:pt idx="162">
                  <c:v>22213</c:v>
                </c:pt>
                <c:pt idx="163">
                  <c:v>22282</c:v>
                </c:pt>
                <c:pt idx="164">
                  <c:v>22334</c:v>
                </c:pt>
                <c:pt idx="165">
                  <c:v>22343</c:v>
                </c:pt>
                <c:pt idx="166">
                  <c:v>22357</c:v>
                </c:pt>
                <c:pt idx="167">
                  <c:v>22394</c:v>
                </c:pt>
                <c:pt idx="168">
                  <c:v>22413</c:v>
                </c:pt>
                <c:pt idx="169">
                  <c:v>22443</c:v>
                </c:pt>
                <c:pt idx="170">
                  <c:v>22473</c:v>
                </c:pt>
                <c:pt idx="171">
                  <c:v>22501</c:v>
                </c:pt>
                <c:pt idx="172">
                  <c:v>22520</c:v>
                </c:pt>
                <c:pt idx="173">
                  <c:v>22528</c:v>
                </c:pt>
                <c:pt idx="174">
                  <c:v>22620</c:v>
                </c:pt>
                <c:pt idx="175">
                  <c:v>22657</c:v>
                </c:pt>
                <c:pt idx="176">
                  <c:v>22691</c:v>
                </c:pt>
                <c:pt idx="177">
                  <c:v>22737</c:v>
                </c:pt>
                <c:pt idx="178">
                  <c:v>22786</c:v>
                </c:pt>
                <c:pt idx="179">
                  <c:v>22797</c:v>
                </c:pt>
                <c:pt idx="180">
                  <c:v>22800</c:v>
                </c:pt>
                <c:pt idx="181">
                  <c:v>22879</c:v>
                </c:pt>
                <c:pt idx="182">
                  <c:v>22907</c:v>
                </c:pt>
                <c:pt idx="183">
                  <c:v>22953</c:v>
                </c:pt>
                <c:pt idx="184">
                  <c:v>22964</c:v>
                </c:pt>
                <c:pt idx="185">
                  <c:v>22988</c:v>
                </c:pt>
                <c:pt idx="186">
                  <c:v>22993</c:v>
                </c:pt>
                <c:pt idx="187">
                  <c:v>22999</c:v>
                </c:pt>
                <c:pt idx="188">
                  <c:v>23026</c:v>
                </c:pt>
                <c:pt idx="189">
                  <c:v>23134</c:v>
                </c:pt>
                <c:pt idx="190">
                  <c:v>23195</c:v>
                </c:pt>
                <c:pt idx="191">
                  <c:v>23209</c:v>
                </c:pt>
                <c:pt idx="192">
                  <c:v>23243</c:v>
                </c:pt>
                <c:pt idx="193">
                  <c:v>23252</c:v>
                </c:pt>
                <c:pt idx="194">
                  <c:v>23259</c:v>
                </c:pt>
                <c:pt idx="195">
                  <c:v>23290</c:v>
                </c:pt>
                <c:pt idx="196">
                  <c:v>23311</c:v>
                </c:pt>
                <c:pt idx="197">
                  <c:v>23323</c:v>
                </c:pt>
                <c:pt idx="198">
                  <c:v>23360</c:v>
                </c:pt>
                <c:pt idx="199">
                  <c:v>23378</c:v>
                </c:pt>
                <c:pt idx="200">
                  <c:v>23388</c:v>
                </c:pt>
                <c:pt idx="201">
                  <c:v>23392</c:v>
                </c:pt>
                <c:pt idx="202">
                  <c:v>23405</c:v>
                </c:pt>
                <c:pt idx="203">
                  <c:v>23436</c:v>
                </c:pt>
                <c:pt idx="204">
                  <c:v>23458</c:v>
                </c:pt>
                <c:pt idx="205">
                  <c:v>23490</c:v>
                </c:pt>
                <c:pt idx="206">
                  <c:v>23497</c:v>
                </c:pt>
                <c:pt idx="207">
                  <c:v>23500</c:v>
                </c:pt>
                <c:pt idx="208">
                  <c:v>23504</c:v>
                </c:pt>
                <c:pt idx="209">
                  <c:v>23526</c:v>
                </c:pt>
                <c:pt idx="210">
                  <c:v>23539</c:v>
                </c:pt>
                <c:pt idx="211">
                  <c:v>23550</c:v>
                </c:pt>
                <c:pt idx="212">
                  <c:v>23561</c:v>
                </c:pt>
                <c:pt idx="213">
                  <c:v>23565</c:v>
                </c:pt>
                <c:pt idx="214">
                  <c:v>23569</c:v>
                </c:pt>
                <c:pt idx="215">
                  <c:v>23571</c:v>
                </c:pt>
                <c:pt idx="216">
                  <c:v>23572</c:v>
                </c:pt>
                <c:pt idx="217">
                  <c:v>23577</c:v>
                </c:pt>
                <c:pt idx="218">
                  <c:v>23596</c:v>
                </c:pt>
                <c:pt idx="219">
                  <c:v>23598</c:v>
                </c:pt>
                <c:pt idx="220">
                  <c:v>23601</c:v>
                </c:pt>
                <c:pt idx="221">
                  <c:v>23602</c:v>
                </c:pt>
                <c:pt idx="222">
                  <c:v>23602</c:v>
                </c:pt>
                <c:pt idx="223">
                  <c:v>23603</c:v>
                </c:pt>
                <c:pt idx="224">
                  <c:v>23606</c:v>
                </c:pt>
                <c:pt idx="225">
                  <c:v>23610</c:v>
                </c:pt>
                <c:pt idx="226">
                  <c:v>23614</c:v>
                </c:pt>
                <c:pt idx="227">
                  <c:v>23615</c:v>
                </c:pt>
                <c:pt idx="228">
                  <c:v>23616</c:v>
                </c:pt>
                <c:pt idx="229">
                  <c:v>23618</c:v>
                </c:pt>
                <c:pt idx="230">
                  <c:v>23623</c:v>
                </c:pt>
                <c:pt idx="231">
                  <c:v>23628</c:v>
                </c:pt>
                <c:pt idx="232">
                  <c:v>23631</c:v>
                </c:pt>
                <c:pt idx="233">
                  <c:v>23650</c:v>
                </c:pt>
                <c:pt idx="234">
                  <c:v>23658</c:v>
                </c:pt>
                <c:pt idx="235">
                  <c:v>23659</c:v>
                </c:pt>
                <c:pt idx="236">
                  <c:v>23659</c:v>
                </c:pt>
                <c:pt idx="237">
                  <c:v>23661</c:v>
                </c:pt>
                <c:pt idx="238">
                  <c:v>23665</c:v>
                </c:pt>
                <c:pt idx="239">
                  <c:v>23666</c:v>
                </c:pt>
                <c:pt idx="240">
                  <c:v>23668</c:v>
                </c:pt>
                <c:pt idx="241">
                  <c:v>23669</c:v>
                </c:pt>
                <c:pt idx="242">
                  <c:v>23669</c:v>
                </c:pt>
                <c:pt idx="243">
                  <c:v>23669</c:v>
                </c:pt>
                <c:pt idx="244">
                  <c:v>23671</c:v>
                </c:pt>
                <c:pt idx="245">
                  <c:v>23671</c:v>
                </c:pt>
                <c:pt idx="246">
                  <c:v>23674</c:v>
                </c:pt>
                <c:pt idx="247">
                  <c:v>23674</c:v>
                </c:pt>
                <c:pt idx="248">
                  <c:v>23675</c:v>
                </c:pt>
                <c:pt idx="249">
                  <c:v>23675</c:v>
                </c:pt>
                <c:pt idx="250">
                  <c:v>23678</c:v>
                </c:pt>
                <c:pt idx="251">
                  <c:v>23683</c:v>
                </c:pt>
                <c:pt idx="252">
                  <c:v>23685</c:v>
                </c:pt>
                <c:pt idx="253">
                  <c:v>23685</c:v>
                </c:pt>
                <c:pt idx="254">
                  <c:v>23688</c:v>
                </c:pt>
                <c:pt idx="255">
                  <c:v>23693</c:v>
                </c:pt>
                <c:pt idx="256">
                  <c:v>23694</c:v>
                </c:pt>
                <c:pt idx="257">
                  <c:v>23694</c:v>
                </c:pt>
                <c:pt idx="258">
                  <c:v>23697</c:v>
                </c:pt>
                <c:pt idx="259">
                  <c:v>23697</c:v>
                </c:pt>
                <c:pt idx="260">
                  <c:v>23699</c:v>
                </c:pt>
                <c:pt idx="261">
                  <c:v>23699</c:v>
                </c:pt>
                <c:pt idx="262">
                  <c:v>23699</c:v>
                </c:pt>
                <c:pt idx="263">
                  <c:v>23699</c:v>
                </c:pt>
                <c:pt idx="264">
                  <c:v>23699</c:v>
                </c:pt>
                <c:pt idx="265">
                  <c:v>23701</c:v>
                </c:pt>
                <c:pt idx="266">
                  <c:v>23701</c:v>
                </c:pt>
                <c:pt idx="267">
                  <c:v>23701</c:v>
                </c:pt>
                <c:pt idx="268">
                  <c:v>23701</c:v>
                </c:pt>
                <c:pt idx="269">
                  <c:v>23701</c:v>
                </c:pt>
                <c:pt idx="270">
                  <c:v>23701</c:v>
                </c:pt>
                <c:pt idx="271">
                  <c:v>23701</c:v>
                </c:pt>
                <c:pt idx="272">
                  <c:v>23702</c:v>
                </c:pt>
                <c:pt idx="273">
                  <c:v>23702</c:v>
                </c:pt>
                <c:pt idx="274">
                  <c:v>23705</c:v>
                </c:pt>
                <c:pt idx="275">
                  <c:v>23706</c:v>
                </c:pt>
                <c:pt idx="276">
                  <c:v>23706</c:v>
                </c:pt>
                <c:pt idx="277">
                  <c:v>23706</c:v>
                </c:pt>
                <c:pt idx="278">
                  <c:v>23706</c:v>
                </c:pt>
                <c:pt idx="279">
                  <c:v>23707</c:v>
                </c:pt>
                <c:pt idx="280">
                  <c:v>23707</c:v>
                </c:pt>
                <c:pt idx="281">
                  <c:v>23707</c:v>
                </c:pt>
                <c:pt idx="282">
                  <c:v>23707</c:v>
                </c:pt>
                <c:pt idx="283">
                  <c:v>23708</c:v>
                </c:pt>
                <c:pt idx="284">
                  <c:v>23708</c:v>
                </c:pt>
                <c:pt idx="285">
                  <c:v>23708</c:v>
                </c:pt>
                <c:pt idx="286">
                  <c:v>23708</c:v>
                </c:pt>
                <c:pt idx="287">
                  <c:v>23708</c:v>
                </c:pt>
                <c:pt idx="288">
                  <c:v>23708</c:v>
                </c:pt>
                <c:pt idx="289">
                  <c:v>23709</c:v>
                </c:pt>
                <c:pt idx="290">
                  <c:v>23709</c:v>
                </c:pt>
                <c:pt idx="291">
                  <c:v>23709</c:v>
                </c:pt>
                <c:pt idx="292">
                  <c:v>23709</c:v>
                </c:pt>
                <c:pt idx="293">
                  <c:v>23709</c:v>
                </c:pt>
                <c:pt idx="294">
                  <c:v>23709</c:v>
                </c:pt>
                <c:pt idx="295">
                  <c:v>23710</c:v>
                </c:pt>
                <c:pt idx="296">
                  <c:v>23711</c:v>
                </c:pt>
                <c:pt idx="297">
                  <c:v>23711</c:v>
                </c:pt>
                <c:pt idx="298">
                  <c:v>23711</c:v>
                </c:pt>
                <c:pt idx="299">
                  <c:v>23711</c:v>
                </c:pt>
                <c:pt idx="300">
                  <c:v>23711</c:v>
                </c:pt>
                <c:pt idx="301">
                  <c:v>23711</c:v>
                </c:pt>
                <c:pt idx="302">
                  <c:v>23711</c:v>
                </c:pt>
                <c:pt idx="303">
                  <c:v>23712</c:v>
                </c:pt>
                <c:pt idx="304">
                  <c:v>23712</c:v>
                </c:pt>
                <c:pt idx="305">
                  <c:v>23712</c:v>
                </c:pt>
                <c:pt idx="306">
                  <c:v>23713</c:v>
                </c:pt>
                <c:pt idx="307">
                  <c:v>23713</c:v>
                </c:pt>
                <c:pt idx="308">
                  <c:v>23713</c:v>
                </c:pt>
                <c:pt idx="309">
                  <c:v>23713</c:v>
                </c:pt>
                <c:pt idx="310">
                  <c:v>23714</c:v>
                </c:pt>
                <c:pt idx="311">
                  <c:v>23714</c:v>
                </c:pt>
                <c:pt idx="312">
                  <c:v>23714</c:v>
                </c:pt>
                <c:pt idx="313">
                  <c:v>23714</c:v>
                </c:pt>
                <c:pt idx="314">
                  <c:v>23714</c:v>
                </c:pt>
                <c:pt idx="315">
                  <c:v>23714</c:v>
                </c:pt>
                <c:pt idx="316">
                  <c:v>23714</c:v>
                </c:pt>
                <c:pt idx="317">
                  <c:v>23714</c:v>
                </c:pt>
                <c:pt idx="318">
                  <c:v>23714</c:v>
                </c:pt>
                <c:pt idx="319">
                  <c:v>23714</c:v>
                </c:pt>
                <c:pt idx="320">
                  <c:v>23714</c:v>
                </c:pt>
                <c:pt idx="321">
                  <c:v>23714</c:v>
                </c:pt>
                <c:pt idx="322">
                  <c:v>23714</c:v>
                </c:pt>
                <c:pt idx="323">
                  <c:v>23714</c:v>
                </c:pt>
                <c:pt idx="324">
                  <c:v>23714</c:v>
                </c:pt>
                <c:pt idx="325">
                  <c:v>23714</c:v>
                </c:pt>
                <c:pt idx="326">
                  <c:v>23715</c:v>
                </c:pt>
                <c:pt idx="327">
                  <c:v>23715</c:v>
                </c:pt>
                <c:pt idx="328">
                  <c:v>23715</c:v>
                </c:pt>
                <c:pt idx="329">
                  <c:v>23715</c:v>
                </c:pt>
                <c:pt idx="330">
                  <c:v>23715</c:v>
                </c:pt>
                <c:pt idx="331">
                  <c:v>23715</c:v>
                </c:pt>
                <c:pt idx="332">
                  <c:v>23715</c:v>
                </c:pt>
                <c:pt idx="333">
                  <c:v>23715</c:v>
                </c:pt>
                <c:pt idx="334">
                  <c:v>23715</c:v>
                </c:pt>
                <c:pt idx="335">
                  <c:v>23715</c:v>
                </c:pt>
                <c:pt idx="336">
                  <c:v>23715</c:v>
                </c:pt>
                <c:pt idx="337">
                  <c:v>23715</c:v>
                </c:pt>
                <c:pt idx="338">
                  <c:v>23715</c:v>
                </c:pt>
                <c:pt idx="339">
                  <c:v>23715</c:v>
                </c:pt>
                <c:pt idx="340">
                  <c:v>23715</c:v>
                </c:pt>
                <c:pt idx="341">
                  <c:v>23715</c:v>
                </c:pt>
                <c:pt idx="342">
                  <c:v>23715</c:v>
                </c:pt>
                <c:pt idx="343">
                  <c:v>23715</c:v>
                </c:pt>
                <c:pt idx="344">
                  <c:v>23715</c:v>
                </c:pt>
                <c:pt idx="345">
                  <c:v>23715</c:v>
                </c:pt>
                <c:pt idx="346">
                  <c:v>23715</c:v>
                </c:pt>
                <c:pt idx="347">
                  <c:v>23715</c:v>
                </c:pt>
                <c:pt idx="348">
                  <c:v>23715</c:v>
                </c:pt>
                <c:pt idx="349">
                  <c:v>23716</c:v>
                </c:pt>
                <c:pt idx="350">
                  <c:v>23717</c:v>
                </c:pt>
                <c:pt idx="351">
                  <c:v>23717</c:v>
                </c:pt>
                <c:pt idx="352">
                  <c:v>23718</c:v>
                </c:pt>
                <c:pt idx="353">
                  <c:v>23718</c:v>
                </c:pt>
                <c:pt idx="354">
                  <c:v>23718</c:v>
                </c:pt>
                <c:pt idx="355">
                  <c:v>23718</c:v>
                </c:pt>
                <c:pt idx="356">
                  <c:v>23720</c:v>
                </c:pt>
                <c:pt idx="357">
                  <c:v>23720</c:v>
                </c:pt>
                <c:pt idx="358">
                  <c:v>23720</c:v>
                </c:pt>
                <c:pt idx="359">
                  <c:v>23720</c:v>
                </c:pt>
                <c:pt idx="360">
                  <c:v>23720</c:v>
                </c:pt>
                <c:pt idx="361">
                  <c:v>23720</c:v>
                </c:pt>
                <c:pt idx="362">
                  <c:v>23720</c:v>
                </c:pt>
                <c:pt idx="363">
                  <c:v>23720</c:v>
                </c:pt>
                <c:pt idx="364">
                  <c:v>23720</c:v>
                </c:pt>
                <c:pt idx="365">
                  <c:v>23721</c:v>
                </c:pt>
                <c:pt idx="366">
                  <c:v>23725</c:v>
                </c:pt>
                <c:pt idx="367">
                  <c:v>23727</c:v>
                </c:pt>
                <c:pt idx="368">
                  <c:v>23728</c:v>
                </c:pt>
                <c:pt idx="369">
                  <c:v>23728</c:v>
                </c:pt>
                <c:pt idx="370">
                  <c:v>23732</c:v>
                </c:pt>
                <c:pt idx="371">
                  <c:v>23732</c:v>
                </c:pt>
                <c:pt idx="372">
                  <c:v>23732</c:v>
                </c:pt>
                <c:pt idx="373">
                  <c:v>23733</c:v>
                </c:pt>
                <c:pt idx="374">
                  <c:v>23733</c:v>
                </c:pt>
                <c:pt idx="375">
                  <c:v>23733</c:v>
                </c:pt>
                <c:pt idx="376">
                  <c:v>23733</c:v>
                </c:pt>
                <c:pt idx="377">
                  <c:v>23734</c:v>
                </c:pt>
                <c:pt idx="378">
                  <c:v>23734</c:v>
                </c:pt>
                <c:pt idx="379">
                  <c:v>23734</c:v>
                </c:pt>
                <c:pt idx="380">
                  <c:v>23734</c:v>
                </c:pt>
                <c:pt idx="381">
                  <c:v>23734</c:v>
                </c:pt>
                <c:pt idx="382">
                  <c:v>23734</c:v>
                </c:pt>
                <c:pt idx="383">
                  <c:v>23734</c:v>
                </c:pt>
                <c:pt idx="384">
                  <c:v>23735</c:v>
                </c:pt>
                <c:pt idx="385">
                  <c:v>23739</c:v>
                </c:pt>
                <c:pt idx="386">
                  <c:v>23740</c:v>
                </c:pt>
                <c:pt idx="387">
                  <c:v>23740</c:v>
                </c:pt>
                <c:pt idx="388">
                  <c:v>23740</c:v>
                </c:pt>
                <c:pt idx="389">
                  <c:v>23740</c:v>
                </c:pt>
                <c:pt idx="390">
                  <c:v>23740</c:v>
                </c:pt>
                <c:pt idx="391">
                  <c:v>23742</c:v>
                </c:pt>
                <c:pt idx="392">
                  <c:v>23742</c:v>
                </c:pt>
                <c:pt idx="393">
                  <c:v>23743</c:v>
                </c:pt>
                <c:pt idx="394">
                  <c:v>23743</c:v>
                </c:pt>
                <c:pt idx="395">
                  <c:v>23744</c:v>
                </c:pt>
                <c:pt idx="396">
                  <c:v>23745</c:v>
                </c:pt>
                <c:pt idx="397">
                  <c:v>23746</c:v>
                </c:pt>
                <c:pt idx="398">
                  <c:v>23748</c:v>
                </c:pt>
                <c:pt idx="399">
                  <c:v>23750</c:v>
                </c:pt>
                <c:pt idx="400">
                  <c:v>23761</c:v>
                </c:pt>
                <c:pt idx="401">
                  <c:v>23763</c:v>
                </c:pt>
                <c:pt idx="402">
                  <c:v>23788</c:v>
                </c:pt>
                <c:pt idx="403">
                  <c:v>23789</c:v>
                </c:pt>
                <c:pt idx="404">
                  <c:v>23789</c:v>
                </c:pt>
                <c:pt idx="405">
                  <c:v>23790</c:v>
                </c:pt>
                <c:pt idx="406">
                  <c:v>23791</c:v>
                </c:pt>
                <c:pt idx="407">
                  <c:v>23811</c:v>
                </c:pt>
                <c:pt idx="408">
                  <c:v>23814</c:v>
                </c:pt>
                <c:pt idx="409">
                  <c:v>23816</c:v>
                </c:pt>
                <c:pt idx="410">
                  <c:v>23816</c:v>
                </c:pt>
                <c:pt idx="411">
                  <c:v>23816</c:v>
                </c:pt>
                <c:pt idx="412">
                  <c:v>23822</c:v>
                </c:pt>
                <c:pt idx="413">
                  <c:v>23827</c:v>
                </c:pt>
                <c:pt idx="414">
                  <c:v>23831</c:v>
                </c:pt>
                <c:pt idx="415">
                  <c:v>23833</c:v>
                </c:pt>
                <c:pt idx="416">
                  <c:v>23838</c:v>
                </c:pt>
                <c:pt idx="417">
                  <c:v>23839</c:v>
                </c:pt>
                <c:pt idx="418">
                  <c:v>23840</c:v>
                </c:pt>
                <c:pt idx="419">
                  <c:v>23854</c:v>
                </c:pt>
                <c:pt idx="420">
                  <c:v>23863</c:v>
                </c:pt>
                <c:pt idx="421">
                  <c:v>23874</c:v>
                </c:pt>
                <c:pt idx="422">
                  <c:v>23874</c:v>
                </c:pt>
                <c:pt idx="423">
                  <c:v>23892</c:v>
                </c:pt>
                <c:pt idx="424">
                  <c:v>23899</c:v>
                </c:pt>
                <c:pt idx="425">
                  <c:v>23910</c:v>
                </c:pt>
                <c:pt idx="426">
                  <c:v>23945</c:v>
                </c:pt>
                <c:pt idx="427">
                  <c:v>23960</c:v>
                </c:pt>
                <c:pt idx="428">
                  <c:v>23976</c:v>
                </c:pt>
                <c:pt idx="429">
                  <c:v>24029</c:v>
                </c:pt>
                <c:pt idx="430">
                  <c:v>24052</c:v>
                </c:pt>
                <c:pt idx="431">
                  <c:v>24058</c:v>
                </c:pt>
                <c:pt idx="432">
                  <c:v>24063</c:v>
                </c:pt>
                <c:pt idx="433">
                  <c:v>24093</c:v>
                </c:pt>
                <c:pt idx="434">
                  <c:v>24123</c:v>
                </c:pt>
                <c:pt idx="435">
                  <c:v>24139</c:v>
                </c:pt>
                <c:pt idx="436">
                  <c:v>24158</c:v>
                </c:pt>
                <c:pt idx="437">
                  <c:v>24175</c:v>
                </c:pt>
                <c:pt idx="438">
                  <c:v>24188</c:v>
                </c:pt>
                <c:pt idx="439">
                  <c:v>24203</c:v>
                </c:pt>
                <c:pt idx="440">
                  <c:v>24246</c:v>
                </c:pt>
                <c:pt idx="441">
                  <c:v>24278</c:v>
                </c:pt>
                <c:pt idx="442">
                  <c:v>24303</c:v>
                </c:pt>
                <c:pt idx="443">
                  <c:v>24359</c:v>
                </c:pt>
                <c:pt idx="444">
                  <c:v>24444</c:v>
                </c:pt>
                <c:pt idx="445">
                  <c:v>24470</c:v>
                </c:pt>
                <c:pt idx="446">
                  <c:v>24479</c:v>
                </c:pt>
                <c:pt idx="447">
                  <c:v>24529</c:v>
                </c:pt>
                <c:pt idx="448">
                  <c:v>24553</c:v>
                </c:pt>
                <c:pt idx="449">
                  <c:v>24595</c:v>
                </c:pt>
                <c:pt idx="450">
                  <c:v>24624</c:v>
                </c:pt>
                <c:pt idx="451">
                  <c:v>24677</c:v>
                </c:pt>
                <c:pt idx="452">
                  <c:v>24682</c:v>
                </c:pt>
                <c:pt idx="453">
                  <c:v>24689</c:v>
                </c:pt>
                <c:pt idx="454">
                  <c:v>24733</c:v>
                </c:pt>
                <c:pt idx="455">
                  <c:v>24748</c:v>
                </c:pt>
                <c:pt idx="456">
                  <c:v>24779</c:v>
                </c:pt>
                <c:pt idx="457">
                  <c:v>24810</c:v>
                </c:pt>
                <c:pt idx="458">
                  <c:v>24824</c:v>
                </c:pt>
                <c:pt idx="459">
                  <c:v>24862</c:v>
                </c:pt>
                <c:pt idx="460">
                  <c:v>24869</c:v>
                </c:pt>
                <c:pt idx="461">
                  <c:v>24900</c:v>
                </c:pt>
                <c:pt idx="462">
                  <c:v>24922</c:v>
                </c:pt>
                <c:pt idx="463">
                  <c:v>24940</c:v>
                </c:pt>
                <c:pt idx="464">
                  <c:v>24971</c:v>
                </c:pt>
                <c:pt idx="465">
                  <c:v>25001</c:v>
                </c:pt>
                <c:pt idx="466">
                  <c:v>25007</c:v>
                </c:pt>
                <c:pt idx="467">
                  <c:v>25008</c:v>
                </c:pt>
                <c:pt idx="468">
                  <c:v>25025</c:v>
                </c:pt>
                <c:pt idx="469">
                  <c:v>25052</c:v>
                </c:pt>
                <c:pt idx="470">
                  <c:v>25069</c:v>
                </c:pt>
                <c:pt idx="471">
                  <c:v>25076</c:v>
                </c:pt>
                <c:pt idx="472">
                  <c:v>25088</c:v>
                </c:pt>
                <c:pt idx="473">
                  <c:v>25090</c:v>
                </c:pt>
                <c:pt idx="474">
                  <c:v>25093</c:v>
                </c:pt>
                <c:pt idx="475">
                  <c:v>25109</c:v>
                </c:pt>
                <c:pt idx="476">
                  <c:v>25117</c:v>
                </c:pt>
                <c:pt idx="477">
                  <c:v>25120</c:v>
                </c:pt>
                <c:pt idx="478">
                  <c:v>25125</c:v>
                </c:pt>
                <c:pt idx="479">
                  <c:v>25126</c:v>
                </c:pt>
                <c:pt idx="480">
                  <c:v>25131</c:v>
                </c:pt>
                <c:pt idx="481">
                  <c:v>25131</c:v>
                </c:pt>
                <c:pt idx="482">
                  <c:v>25141</c:v>
                </c:pt>
                <c:pt idx="483">
                  <c:v>25147</c:v>
                </c:pt>
                <c:pt idx="484">
                  <c:v>25153</c:v>
                </c:pt>
                <c:pt idx="485">
                  <c:v>25155</c:v>
                </c:pt>
                <c:pt idx="486">
                  <c:v>25165</c:v>
                </c:pt>
                <c:pt idx="487">
                  <c:v>25167</c:v>
                </c:pt>
                <c:pt idx="488">
                  <c:v>25167</c:v>
                </c:pt>
                <c:pt idx="489">
                  <c:v>25171</c:v>
                </c:pt>
                <c:pt idx="490">
                  <c:v>25177</c:v>
                </c:pt>
                <c:pt idx="491">
                  <c:v>25184</c:v>
                </c:pt>
                <c:pt idx="492">
                  <c:v>25191</c:v>
                </c:pt>
                <c:pt idx="493">
                  <c:v>25197</c:v>
                </c:pt>
                <c:pt idx="494">
                  <c:v>25198</c:v>
                </c:pt>
                <c:pt idx="495">
                  <c:v>25200</c:v>
                </c:pt>
                <c:pt idx="496">
                  <c:v>25201</c:v>
                </c:pt>
                <c:pt idx="497">
                  <c:v>25209</c:v>
                </c:pt>
                <c:pt idx="498">
                  <c:v>25213</c:v>
                </c:pt>
                <c:pt idx="499">
                  <c:v>25216</c:v>
                </c:pt>
                <c:pt idx="500">
                  <c:v>25224</c:v>
                </c:pt>
                <c:pt idx="501">
                  <c:v>25225</c:v>
                </c:pt>
                <c:pt idx="502">
                  <c:v>25229</c:v>
                </c:pt>
                <c:pt idx="503">
                  <c:v>25250</c:v>
                </c:pt>
                <c:pt idx="504">
                  <c:v>25263</c:v>
                </c:pt>
                <c:pt idx="505">
                  <c:v>25274</c:v>
                </c:pt>
                <c:pt idx="506">
                  <c:v>25296</c:v>
                </c:pt>
                <c:pt idx="507">
                  <c:v>25312</c:v>
                </c:pt>
                <c:pt idx="508">
                  <c:v>25344</c:v>
                </c:pt>
                <c:pt idx="509">
                  <c:v>25350</c:v>
                </c:pt>
                <c:pt idx="510">
                  <c:v>25394</c:v>
                </c:pt>
                <c:pt idx="511">
                  <c:v>25435</c:v>
                </c:pt>
                <c:pt idx="512">
                  <c:v>25474</c:v>
                </c:pt>
                <c:pt idx="513">
                  <c:v>25499</c:v>
                </c:pt>
                <c:pt idx="514">
                  <c:v>25547</c:v>
                </c:pt>
                <c:pt idx="515">
                  <c:v>25551</c:v>
                </c:pt>
                <c:pt idx="516">
                  <c:v>25557</c:v>
                </c:pt>
                <c:pt idx="517">
                  <c:v>25599</c:v>
                </c:pt>
                <c:pt idx="518">
                  <c:v>25652</c:v>
                </c:pt>
                <c:pt idx="519">
                  <c:v>25685</c:v>
                </c:pt>
                <c:pt idx="520">
                  <c:v>25706</c:v>
                </c:pt>
                <c:pt idx="521">
                  <c:v>25763</c:v>
                </c:pt>
                <c:pt idx="522">
                  <c:v>25783</c:v>
                </c:pt>
                <c:pt idx="523">
                  <c:v>25797</c:v>
                </c:pt>
                <c:pt idx="524">
                  <c:v>25885</c:v>
                </c:pt>
                <c:pt idx="525">
                  <c:v>25936</c:v>
                </c:pt>
                <c:pt idx="526">
                  <c:v>25965</c:v>
                </c:pt>
                <c:pt idx="527">
                  <c:v>26005</c:v>
                </c:pt>
                <c:pt idx="528">
                  <c:v>26070</c:v>
                </c:pt>
                <c:pt idx="529">
                  <c:v>26090</c:v>
                </c:pt>
                <c:pt idx="530">
                  <c:v>26106</c:v>
                </c:pt>
                <c:pt idx="531">
                  <c:v>26167</c:v>
                </c:pt>
                <c:pt idx="532">
                  <c:v>26221</c:v>
                </c:pt>
                <c:pt idx="533">
                  <c:v>26271</c:v>
                </c:pt>
                <c:pt idx="534">
                  <c:v>26352</c:v>
                </c:pt>
                <c:pt idx="535">
                  <c:v>26390</c:v>
                </c:pt>
                <c:pt idx="536">
                  <c:v>26398</c:v>
                </c:pt>
                <c:pt idx="537">
                  <c:v>26411</c:v>
                </c:pt>
                <c:pt idx="538">
                  <c:v>26449</c:v>
                </c:pt>
                <c:pt idx="539">
                  <c:v>26508</c:v>
                </c:pt>
                <c:pt idx="540">
                  <c:v>26549</c:v>
                </c:pt>
                <c:pt idx="541">
                  <c:v>26575</c:v>
                </c:pt>
                <c:pt idx="542">
                  <c:v>26612</c:v>
                </c:pt>
                <c:pt idx="543">
                  <c:v>26619</c:v>
                </c:pt>
                <c:pt idx="544">
                  <c:v>26624</c:v>
                </c:pt>
                <c:pt idx="545">
                  <c:v>26659</c:v>
                </c:pt>
                <c:pt idx="546">
                  <c:v>26692</c:v>
                </c:pt>
                <c:pt idx="547">
                  <c:v>26728</c:v>
                </c:pt>
                <c:pt idx="548">
                  <c:v>26747</c:v>
                </c:pt>
                <c:pt idx="549">
                  <c:v>26759</c:v>
                </c:pt>
                <c:pt idx="550">
                  <c:v>267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52</c:f>
              <c:numCache>
                <c:formatCode>m/d/yyyy</c:formatCode>
                <c:ptCount val="5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</c:numCache>
            </c:numRef>
          </c:cat>
          <c:val>
            <c:numRef>
              <c:f>List1!$C$2:$C$552</c:f>
              <c:numCache>
                <c:formatCode>General</c:formatCode>
                <c:ptCount val="551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2</c:v>
                </c:pt>
                <c:pt idx="13">
                  <c:v>16</c:v>
                </c:pt>
                <c:pt idx="14">
                  <c:v>17</c:v>
                </c:pt>
                <c:pt idx="15">
                  <c:v>19</c:v>
                </c:pt>
                <c:pt idx="16">
                  <c:v>21</c:v>
                </c:pt>
                <c:pt idx="17">
                  <c:v>23</c:v>
                </c:pt>
                <c:pt idx="18">
                  <c:v>25</c:v>
                </c:pt>
                <c:pt idx="19">
                  <c:v>29</c:v>
                </c:pt>
                <c:pt idx="20">
                  <c:v>34</c:v>
                </c:pt>
                <c:pt idx="21">
                  <c:v>41</c:v>
                </c:pt>
                <c:pt idx="22">
                  <c:v>42</c:v>
                </c:pt>
                <c:pt idx="23">
                  <c:v>46</c:v>
                </c:pt>
                <c:pt idx="24">
                  <c:v>58</c:v>
                </c:pt>
                <c:pt idx="25">
                  <c:v>65</c:v>
                </c:pt>
                <c:pt idx="26">
                  <c:v>67</c:v>
                </c:pt>
                <c:pt idx="27">
                  <c:v>73</c:v>
                </c:pt>
                <c:pt idx="28">
                  <c:v>99</c:v>
                </c:pt>
                <c:pt idx="29">
                  <c:v>109</c:v>
                </c:pt>
                <c:pt idx="30">
                  <c:v>139</c:v>
                </c:pt>
                <c:pt idx="31">
                  <c:v>236</c:v>
                </c:pt>
                <c:pt idx="32">
                  <c:v>267</c:v>
                </c:pt>
                <c:pt idx="33">
                  <c:v>298</c:v>
                </c:pt>
                <c:pt idx="34">
                  <c:v>397</c:v>
                </c:pt>
                <c:pt idx="35">
                  <c:v>448</c:v>
                </c:pt>
                <c:pt idx="36">
                  <c:v>491</c:v>
                </c:pt>
                <c:pt idx="37">
                  <c:v>577</c:v>
                </c:pt>
                <c:pt idx="38">
                  <c:v>670</c:v>
                </c:pt>
                <c:pt idx="39">
                  <c:v>721</c:v>
                </c:pt>
                <c:pt idx="40">
                  <c:v>747</c:v>
                </c:pt>
                <c:pt idx="41">
                  <c:v>925</c:v>
                </c:pt>
                <c:pt idx="42">
                  <c:v>1088</c:v>
                </c:pt>
                <c:pt idx="43">
                  <c:v>1287</c:v>
                </c:pt>
                <c:pt idx="44">
                  <c:v>1499</c:v>
                </c:pt>
                <c:pt idx="45">
                  <c:v>1715</c:v>
                </c:pt>
                <c:pt idx="46">
                  <c:v>1822</c:v>
                </c:pt>
                <c:pt idx="47">
                  <c:v>1872</c:v>
                </c:pt>
                <c:pt idx="48">
                  <c:v>2073</c:v>
                </c:pt>
                <c:pt idx="49">
                  <c:v>2276</c:v>
                </c:pt>
                <c:pt idx="50">
                  <c:v>2550</c:v>
                </c:pt>
                <c:pt idx="51">
                  <c:v>2791</c:v>
                </c:pt>
                <c:pt idx="52">
                  <c:v>3136</c:v>
                </c:pt>
                <c:pt idx="53">
                  <c:v>3326</c:v>
                </c:pt>
                <c:pt idx="54">
                  <c:v>3416</c:v>
                </c:pt>
                <c:pt idx="55">
                  <c:v>3801</c:v>
                </c:pt>
                <c:pt idx="56">
                  <c:v>4224</c:v>
                </c:pt>
                <c:pt idx="57">
                  <c:v>4362</c:v>
                </c:pt>
                <c:pt idx="58">
                  <c:v>4847</c:v>
                </c:pt>
                <c:pt idx="59">
                  <c:v>5194</c:v>
                </c:pt>
                <c:pt idx="60">
                  <c:v>5381</c:v>
                </c:pt>
                <c:pt idx="61">
                  <c:v>5501</c:v>
                </c:pt>
                <c:pt idx="62">
                  <c:v>5818</c:v>
                </c:pt>
                <c:pt idx="63">
                  <c:v>6063</c:v>
                </c:pt>
                <c:pt idx="64">
                  <c:v>6409</c:v>
                </c:pt>
                <c:pt idx="65">
                  <c:v>6703</c:v>
                </c:pt>
                <c:pt idx="66">
                  <c:v>6950</c:v>
                </c:pt>
                <c:pt idx="67">
                  <c:v>7071</c:v>
                </c:pt>
                <c:pt idx="68">
                  <c:v>7122</c:v>
                </c:pt>
                <c:pt idx="69">
                  <c:v>7330</c:v>
                </c:pt>
                <c:pt idx="70">
                  <c:v>7543</c:v>
                </c:pt>
                <c:pt idx="71">
                  <c:v>7819</c:v>
                </c:pt>
                <c:pt idx="72">
                  <c:v>8067</c:v>
                </c:pt>
                <c:pt idx="73">
                  <c:v>8278</c:v>
                </c:pt>
                <c:pt idx="74">
                  <c:v>8355</c:v>
                </c:pt>
                <c:pt idx="75">
                  <c:v>8389</c:v>
                </c:pt>
                <c:pt idx="76">
                  <c:v>8589</c:v>
                </c:pt>
                <c:pt idx="77">
                  <c:v>8641</c:v>
                </c:pt>
                <c:pt idx="78">
                  <c:v>8810</c:v>
                </c:pt>
                <c:pt idx="79">
                  <c:v>8949</c:v>
                </c:pt>
                <c:pt idx="80">
                  <c:v>9077</c:v>
                </c:pt>
                <c:pt idx="81">
                  <c:v>9118</c:v>
                </c:pt>
                <c:pt idx="82">
                  <c:v>9138</c:v>
                </c:pt>
                <c:pt idx="83">
                  <c:v>9289</c:v>
                </c:pt>
                <c:pt idx="84">
                  <c:v>9401</c:v>
                </c:pt>
                <c:pt idx="85">
                  <c:v>9498</c:v>
                </c:pt>
                <c:pt idx="86">
                  <c:v>9557</c:v>
                </c:pt>
                <c:pt idx="87">
                  <c:v>9641</c:v>
                </c:pt>
                <c:pt idx="88">
                  <c:v>9664</c:v>
                </c:pt>
                <c:pt idx="89">
                  <c:v>9680</c:v>
                </c:pt>
                <c:pt idx="90">
                  <c:v>9795</c:v>
                </c:pt>
                <c:pt idx="91">
                  <c:v>9887</c:v>
                </c:pt>
                <c:pt idx="92">
                  <c:v>9961</c:v>
                </c:pt>
                <c:pt idx="93">
                  <c:v>10024</c:v>
                </c:pt>
                <c:pt idx="94">
                  <c:v>10117</c:v>
                </c:pt>
                <c:pt idx="95">
                  <c:v>10159</c:v>
                </c:pt>
                <c:pt idx="96">
                  <c:v>10187</c:v>
                </c:pt>
                <c:pt idx="97">
                  <c:v>10309</c:v>
                </c:pt>
                <c:pt idx="98">
                  <c:v>10389</c:v>
                </c:pt>
                <c:pt idx="99">
                  <c:v>10455</c:v>
                </c:pt>
                <c:pt idx="100">
                  <c:v>10518</c:v>
                </c:pt>
                <c:pt idx="101">
                  <c:v>10598</c:v>
                </c:pt>
                <c:pt idx="102">
                  <c:v>10619</c:v>
                </c:pt>
                <c:pt idx="103">
                  <c:v>10637</c:v>
                </c:pt>
                <c:pt idx="104">
                  <c:v>10779</c:v>
                </c:pt>
                <c:pt idx="105">
                  <c:v>10852</c:v>
                </c:pt>
                <c:pt idx="106">
                  <c:v>10950</c:v>
                </c:pt>
                <c:pt idx="107">
                  <c:v>11005</c:v>
                </c:pt>
                <c:pt idx="108">
                  <c:v>11094</c:v>
                </c:pt>
                <c:pt idx="109">
                  <c:v>11126</c:v>
                </c:pt>
                <c:pt idx="110">
                  <c:v>11155</c:v>
                </c:pt>
                <c:pt idx="111">
                  <c:v>11323</c:v>
                </c:pt>
                <c:pt idx="112">
                  <c:v>11440</c:v>
                </c:pt>
                <c:pt idx="113">
                  <c:v>11567</c:v>
                </c:pt>
                <c:pt idx="114">
                  <c:v>11599</c:v>
                </c:pt>
                <c:pt idx="115">
                  <c:v>11650</c:v>
                </c:pt>
                <c:pt idx="116">
                  <c:v>11704</c:v>
                </c:pt>
                <c:pt idx="117">
                  <c:v>11753</c:v>
                </c:pt>
                <c:pt idx="118">
                  <c:v>11951</c:v>
                </c:pt>
                <c:pt idx="119">
                  <c:v>12101</c:v>
                </c:pt>
                <c:pt idx="120">
                  <c:v>12216</c:v>
                </c:pt>
                <c:pt idx="121">
                  <c:v>12309</c:v>
                </c:pt>
                <c:pt idx="122">
                  <c:v>12344</c:v>
                </c:pt>
                <c:pt idx="123">
                  <c:v>12411</c:v>
                </c:pt>
                <c:pt idx="124">
                  <c:v>12451</c:v>
                </c:pt>
                <c:pt idx="125">
                  <c:v>12754</c:v>
                </c:pt>
                <c:pt idx="126">
                  <c:v>12905</c:v>
                </c:pt>
                <c:pt idx="127">
                  <c:v>13027</c:v>
                </c:pt>
                <c:pt idx="128">
                  <c:v>13137</c:v>
                </c:pt>
                <c:pt idx="129">
                  <c:v>13272</c:v>
                </c:pt>
                <c:pt idx="130">
                  <c:v>13332</c:v>
                </c:pt>
                <c:pt idx="131">
                  <c:v>13359</c:v>
                </c:pt>
                <c:pt idx="132">
                  <c:v>13607</c:v>
                </c:pt>
                <c:pt idx="133">
                  <c:v>13708</c:v>
                </c:pt>
                <c:pt idx="134">
                  <c:v>13821</c:v>
                </c:pt>
                <c:pt idx="135">
                  <c:v>13880</c:v>
                </c:pt>
                <c:pt idx="136">
                  <c:v>13951</c:v>
                </c:pt>
                <c:pt idx="137">
                  <c:v>13987</c:v>
                </c:pt>
                <c:pt idx="138">
                  <c:v>14016</c:v>
                </c:pt>
                <c:pt idx="139">
                  <c:v>14149</c:v>
                </c:pt>
                <c:pt idx="140">
                  <c:v>14226</c:v>
                </c:pt>
                <c:pt idx="141">
                  <c:v>14299</c:v>
                </c:pt>
                <c:pt idx="142">
                  <c:v>14369</c:v>
                </c:pt>
                <c:pt idx="143">
                  <c:v>14452</c:v>
                </c:pt>
                <c:pt idx="144">
                  <c:v>14480</c:v>
                </c:pt>
                <c:pt idx="145">
                  <c:v>14494</c:v>
                </c:pt>
                <c:pt idx="146">
                  <c:v>14586</c:v>
                </c:pt>
                <c:pt idx="147">
                  <c:v>14665</c:v>
                </c:pt>
                <c:pt idx="148">
                  <c:v>14725</c:v>
                </c:pt>
                <c:pt idx="149">
                  <c:v>14761</c:v>
                </c:pt>
                <c:pt idx="150">
                  <c:v>14812</c:v>
                </c:pt>
                <c:pt idx="151">
                  <c:v>14843</c:v>
                </c:pt>
                <c:pt idx="152">
                  <c:v>14859</c:v>
                </c:pt>
                <c:pt idx="153">
                  <c:v>14942</c:v>
                </c:pt>
                <c:pt idx="154">
                  <c:v>15019</c:v>
                </c:pt>
                <c:pt idx="155">
                  <c:v>15079</c:v>
                </c:pt>
                <c:pt idx="156">
                  <c:v>15127</c:v>
                </c:pt>
                <c:pt idx="157">
                  <c:v>15181</c:v>
                </c:pt>
                <c:pt idx="158">
                  <c:v>15194</c:v>
                </c:pt>
                <c:pt idx="159">
                  <c:v>15212</c:v>
                </c:pt>
                <c:pt idx="160">
                  <c:v>15288</c:v>
                </c:pt>
                <c:pt idx="161">
                  <c:v>15310</c:v>
                </c:pt>
                <c:pt idx="162">
                  <c:v>15344</c:v>
                </c:pt>
                <c:pt idx="163">
                  <c:v>15386</c:v>
                </c:pt>
                <c:pt idx="164">
                  <c:v>15426</c:v>
                </c:pt>
                <c:pt idx="165">
                  <c:v>15441</c:v>
                </c:pt>
                <c:pt idx="166">
                  <c:v>15459</c:v>
                </c:pt>
                <c:pt idx="167">
                  <c:v>15526</c:v>
                </c:pt>
                <c:pt idx="168">
                  <c:v>15560</c:v>
                </c:pt>
                <c:pt idx="169">
                  <c:v>15597</c:v>
                </c:pt>
                <c:pt idx="170">
                  <c:v>15632</c:v>
                </c:pt>
                <c:pt idx="171">
                  <c:v>15673</c:v>
                </c:pt>
                <c:pt idx="172">
                  <c:v>15681</c:v>
                </c:pt>
                <c:pt idx="173">
                  <c:v>15704</c:v>
                </c:pt>
                <c:pt idx="174">
                  <c:v>15784</c:v>
                </c:pt>
                <c:pt idx="175">
                  <c:v>15831</c:v>
                </c:pt>
                <c:pt idx="176">
                  <c:v>15868</c:v>
                </c:pt>
                <c:pt idx="177">
                  <c:v>15903</c:v>
                </c:pt>
                <c:pt idx="178">
                  <c:v>15950</c:v>
                </c:pt>
                <c:pt idx="179">
                  <c:v>15962</c:v>
                </c:pt>
                <c:pt idx="180">
                  <c:v>15972</c:v>
                </c:pt>
                <c:pt idx="181">
                  <c:v>16039</c:v>
                </c:pt>
                <c:pt idx="182">
                  <c:v>16082</c:v>
                </c:pt>
                <c:pt idx="183">
                  <c:v>16139</c:v>
                </c:pt>
                <c:pt idx="184">
                  <c:v>16187</c:v>
                </c:pt>
                <c:pt idx="185">
                  <c:v>16223</c:v>
                </c:pt>
                <c:pt idx="186">
                  <c:v>16239</c:v>
                </c:pt>
                <c:pt idx="187">
                  <c:v>16253</c:v>
                </c:pt>
                <c:pt idx="188">
                  <c:v>16318</c:v>
                </c:pt>
                <c:pt idx="189">
                  <c:v>16358</c:v>
                </c:pt>
                <c:pt idx="190">
                  <c:v>16388</c:v>
                </c:pt>
                <c:pt idx="191">
                  <c:v>16418</c:v>
                </c:pt>
                <c:pt idx="192">
                  <c:v>16438</c:v>
                </c:pt>
                <c:pt idx="193">
                  <c:v>16450</c:v>
                </c:pt>
                <c:pt idx="194">
                  <c:v>16457</c:v>
                </c:pt>
                <c:pt idx="195">
                  <c:v>16498</c:v>
                </c:pt>
                <c:pt idx="196">
                  <c:v>16525</c:v>
                </c:pt>
                <c:pt idx="197">
                  <c:v>16552</c:v>
                </c:pt>
                <c:pt idx="198">
                  <c:v>16568</c:v>
                </c:pt>
                <c:pt idx="199">
                  <c:v>16592</c:v>
                </c:pt>
                <c:pt idx="200">
                  <c:v>16594</c:v>
                </c:pt>
                <c:pt idx="201">
                  <c:v>16599</c:v>
                </c:pt>
                <c:pt idx="202">
                  <c:v>16638</c:v>
                </c:pt>
                <c:pt idx="203">
                  <c:v>16657</c:v>
                </c:pt>
                <c:pt idx="204">
                  <c:v>16668</c:v>
                </c:pt>
                <c:pt idx="205">
                  <c:v>16678</c:v>
                </c:pt>
                <c:pt idx="206">
                  <c:v>16696</c:v>
                </c:pt>
                <c:pt idx="207">
                  <c:v>16699</c:v>
                </c:pt>
                <c:pt idx="208">
                  <c:v>16700</c:v>
                </c:pt>
                <c:pt idx="209">
                  <c:v>16725</c:v>
                </c:pt>
                <c:pt idx="210">
                  <c:v>16745</c:v>
                </c:pt>
                <c:pt idx="211">
                  <c:v>16759</c:v>
                </c:pt>
                <c:pt idx="212">
                  <c:v>16772</c:v>
                </c:pt>
                <c:pt idx="213">
                  <c:v>16777</c:v>
                </c:pt>
                <c:pt idx="214">
                  <c:v>16781</c:v>
                </c:pt>
                <c:pt idx="215">
                  <c:v>16783</c:v>
                </c:pt>
                <c:pt idx="216">
                  <c:v>16791</c:v>
                </c:pt>
                <c:pt idx="217">
                  <c:v>16813</c:v>
                </c:pt>
                <c:pt idx="218">
                  <c:v>16831</c:v>
                </c:pt>
                <c:pt idx="219">
                  <c:v>16848</c:v>
                </c:pt>
                <c:pt idx="220">
                  <c:v>16856</c:v>
                </c:pt>
                <c:pt idx="221">
                  <c:v>16862</c:v>
                </c:pt>
                <c:pt idx="222">
                  <c:v>16863</c:v>
                </c:pt>
                <c:pt idx="223">
                  <c:v>16872</c:v>
                </c:pt>
                <c:pt idx="224">
                  <c:v>16880</c:v>
                </c:pt>
                <c:pt idx="225">
                  <c:v>16885</c:v>
                </c:pt>
                <c:pt idx="226">
                  <c:v>16892</c:v>
                </c:pt>
                <c:pt idx="227">
                  <c:v>16899</c:v>
                </c:pt>
                <c:pt idx="228">
                  <c:v>16900</c:v>
                </c:pt>
                <c:pt idx="229">
                  <c:v>16901</c:v>
                </c:pt>
                <c:pt idx="230">
                  <c:v>16914</c:v>
                </c:pt>
                <c:pt idx="231">
                  <c:v>16921</c:v>
                </c:pt>
                <c:pt idx="232">
                  <c:v>16928</c:v>
                </c:pt>
                <c:pt idx="233">
                  <c:v>16932</c:v>
                </c:pt>
                <c:pt idx="234">
                  <c:v>16935</c:v>
                </c:pt>
                <c:pt idx="235">
                  <c:v>16936</c:v>
                </c:pt>
                <c:pt idx="236">
                  <c:v>16936</c:v>
                </c:pt>
                <c:pt idx="237">
                  <c:v>16944</c:v>
                </c:pt>
                <c:pt idx="238">
                  <c:v>16953</c:v>
                </c:pt>
                <c:pt idx="239">
                  <c:v>16957</c:v>
                </c:pt>
                <c:pt idx="240">
                  <c:v>16960</c:v>
                </c:pt>
                <c:pt idx="241">
                  <c:v>16966</c:v>
                </c:pt>
                <c:pt idx="242">
                  <c:v>16966</c:v>
                </c:pt>
                <c:pt idx="243">
                  <c:v>16967</c:v>
                </c:pt>
                <c:pt idx="244">
                  <c:v>16971</c:v>
                </c:pt>
                <c:pt idx="245">
                  <c:v>16973</c:v>
                </c:pt>
                <c:pt idx="246">
                  <c:v>16974</c:v>
                </c:pt>
                <c:pt idx="247">
                  <c:v>16979</c:v>
                </c:pt>
                <c:pt idx="248">
                  <c:v>16981</c:v>
                </c:pt>
                <c:pt idx="249">
                  <c:v>16982</c:v>
                </c:pt>
                <c:pt idx="250">
                  <c:v>16982</c:v>
                </c:pt>
                <c:pt idx="251">
                  <c:v>16985</c:v>
                </c:pt>
                <c:pt idx="252">
                  <c:v>16989</c:v>
                </c:pt>
                <c:pt idx="253">
                  <c:v>16989</c:v>
                </c:pt>
                <c:pt idx="254">
                  <c:v>16991</c:v>
                </c:pt>
                <c:pt idx="255">
                  <c:v>16992</c:v>
                </c:pt>
                <c:pt idx="256">
                  <c:v>16992</c:v>
                </c:pt>
                <c:pt idx="257">
                  <c:v>16992</c:v>
                </c:pt>
                <c:pt idx="258">
                  <c:v>16997</c:v>
                </c:pt>
                <c:pt idx="259">
                  <c:v>17002</c:v>
                </c:pt>
                <c:pt idx="260">
                  <c:v>17004</c:v>
                </c:pt>
                <c:pt idx="261">
                  <c:v>17007</c:v>
                </c:pt>
                <c:pt idx="262">
                  <c:v>17008</c:v>
                </c:pt>
                <c:pt idx="263">
                  <c:v>17008</c:v>
                </c:pt>
                <c:pt idx="264">
                  <c:v>17008</c:v>
                </c:pt>
                <c:pt idx="265">
                  <c:v>17010</c:v>
                </c:pt>
                <c:pt idx="266">
                  <c:v>17011</c:v>
                </c:pt>
                <c:pt idx="267">
                  <c:v>17012</c:v>
                </c:pt>
                <c:pt idx="268">
                  <c:v>17014</c:v>
                </c:pt>
                <c:pt idx="269">
                  <c:v>17014</c:v>
                </c:pt>
                <c:pt idx="270">
                  <c:v>17014</c:v>
                </c:pt>
                <c:pt idx="271">
                  <c:v>17014</c:v>
                </c:pt>
                <c:pt idx="272">
                  <c:v>17014</c:v>
                </c:pt>
                <c:pt idx="273">
                  <c:v>17014</c:v>
                </c:pt>
                <c:pt idx="274">
                  <c:v>17014</c:v>
                </c:pt>
                <c:pt idx="275">
                  <c:v>17016</c:v>
                </c:pt>
                <c:pt idx="276">
                  <c:v>17016</c:v>
                </c:pt>
                <c:pt idx="277">
                  <c:v>17016</c:v>
                </c:pt>
                <c:pt idx="278">
                  <c:v>17016</c:v>
                </c:pt>
                <c:pt idx="279">
                  <c:v>17016</c:v>
                </c:pt>
                <c:pt idx="280">
                  <c:v>17016</c:v>
                </c:pt>
                <c:pt idx="281">
                  <c:v>17016</c:v>
                </c:pt>
                <c:pt idx="282">
                  <c:v>17016</c:v>
                </c:pt>
                <c:pt idx="283">
                  <c:v>17016</c:v>
                </c:pt>
                <c:pt idx="284">
                  <c:v>17016</c:v>
                </c:pt>
                <c:pt idx="285">
                  <c:v>17016</c:v>
                </c:pt>
                <c:pt idx="286">
                  <c:v>17016</c:v>
                </c:pt>
                <c:pt idx="287">
                  <c:v>17016</c:v>
                </c:pt>
                <c:pt idx="288">
                  <c:v>17016</c:v>
                </c:pt>
                <c:pt idx="289">
                  <c:v>17016</c:v>
                </c:pt>
                <c:pt idx="290">
                  <c:v>17016</c:v>
                </c:pt>
                <c:pt idx="291">
                  <c:v>17016</c:v>
                </c:pt>
                <c:pt idx="292">
                  <c:v>17016</c:v>
                </c:pt>
                <c:pt idx="293">
                  <c:v>17016</c:v>
                </c:pt>
                <c:pt idx="294">
                  <c:v>17016</c:v>
                </c:pt>
                <c:pt idx="295">
                  <c:v>17016</c:v>
                </c:pt>
                <c:pt idx="296">
                  <c:v>17017</c:v>
                </c:pt>
                <c:pt idx="297">
                  <c:v>17017</c:v>
                </c:pt>
                <c:pt idx="298">
                  <c:v>17017</c:v>
                </c:pt>
                <c:pt idx="299">
                  <c:v>17017</c:v>
                </c:pt>
                <c:pt idx="300">
                  <c:v>17018</c:v>
                </c:pt>
                <c:pt idx="301">
                  <c:v>17018</c:v>
                </c:pt>
                <c:pt idx="302">
                  <c:v>17019</c:v>
                </c:pt>
                <c:pt idx="303">
                  <c:v>17019</c:v>
                </c:pt>
                <c:pt idx="304">
                  <c:v>17019</c:v>
                </c:pt>
                <c:pt idx="305">
                  <c:v>17019</c:v>
                </c:pt>
                <c:pt idx="306">
                  <c:v>17019</c:v>
                </c:pt>
                <c:pt idx="307">
                  <c:v>17019</c:v>
                </c:pt>
                <c:pt idx="308">
                  <c:v>17019</c:v>
                </c:pt>
                <c:pt idx="309">
                  <c:v>17020</c:v>
                </c:pt>
                <c:pt idx="310">
                  <c:v>17021</c:v>
                </c:pt>
                <c:pt idx="311">
                  <c:v>17021</c:v>
                </c:pt>
                <c:pt idx="312">
                  <c:v>17021</c:v>
                </c:pt>
                <c:pt idx="313">
                  <c:v>17022</c:v>
                </c:pt>
                <c:pt idx="314">
                  <c:v>17022</c:v>
                </c:pt>
                <c:pt idx="315">
                  <c:v>17022</c:v>
                </c:pt>
                <c:pt idx="316">
                  <c:v>17022</c:v>
                </c:pt>
                <c:pt idx="317">
                  <c:v>17022</c:v>
                </c:pt>
                <c:pt idx="318">
                  <c:v>17022</c:v>
                </c:pt>
                <c:pt idx="319">
                  <c:v>17022</c:v>
                </c:pt>
                <c:pt idx="320">
                  <c:v>17022</c:v>
                </c:pt>
                <c:pt idx="321">
                  <c:v>17022</c:v>
                </c:pt>
                <c:pt idx="322">
                  <c:v>17022</c:v>
                </c:pt>
                <c:pt idx="323">
                  <c:v>17023</c:v>
                </c:pt>
                <c:pt idx="324">
                  <c:v>17023</c:v>
                </c:pt>
                <c:pt idx="325">
                  <c:v>17023</c:v>
                </c:pt>
                <c:pt idx="326">
                  <c:v>17023</c:v>
                </c:pt>
                <c:pt idx="327">
                  <c:v>17023</c:v>
                </c:pt>
                <c:pt idx="328">
                  <c:v>17023</c:v>
                </c:pt>
                <c:pt idx="329">
                  <c:v>17024</c:v>
                </c:pt>
                <c:pt idx="330">
                  <c:v>17026</c:v>
                </c:pt>
                <c:pt idx="331">
                  <c:v>17026</c:v>
                </c:pt>
                <c:pt idx="332">
                  <c:v>17026</c:v>
                </c:pt>
                <c:pt idx="333">
                  <c:v>17026</c:v>
                </c:pt>
                <c:pt idx="334">
                  <c:v>17026</c:v>
                </c:pt>
                <c:pt idx="335">
                  <c:v>17026</c:v>
                </c:pt>
                <c:pt idx="336">
                  <c:v>17026</c:v>
                </c:pt>
                <c:pt idx="337">
                  <c:v>17026</c:v>
                </c:pt>
                <c:pt idx="338">
                  <c:v>17026</c:v>
                </c:pt>
                <c:pt idx="339">
                  <c:v>17026</c:v>
                </c:pt>
                <c:pt idx="340">
                  <c:v>17026</c:v>
                </c:pt>
                <c:pt idx="341">
                  <c:v>17027</c:v>
                </c:pt>
                <c:pt idx="342">
                  <c:v>17027</c:v>
                </c:pt>
                <c:pt idx="343">
                  <c:v>17027</c:v>
                </c:pt>
                <c:pt idx="344">
                  <c:v>17028</c:v>
                </c:pt>
                <c:pt idx="345">
                  <c:v>17028</c:v>
                </c:pt>
                <c:pt idx="346">
                  <c:v>17028</c:v>
                </c:pt>
                <c:pt idx="347">
                  <c:v>17028</c:v>
                </c:pt>
                <c:pt idx="348">
                  <c:v>17028</c:v>
                </c:pt>
                <c:pt idx="349">
                  <c:v>17028</c:v>
                </c:pt>
                <c:pt idx="350">
                  <c:v>17028</c:v>
                </c:pt>
                <c:pt idx="351">
                  <c:v>17028</c:v>
                </c:pt>
                <c:pt idx="352">
                  <c:v>17028</c:v>
                </c:pt>
                <c:pt idx="353">
                  <c:v>17028</c:v>
                </c:pt>
                <c:pt idx="354">
                  <c:v>17028</c:v>
                </c:pt>
                <c:pt idx="355">
                  <c:v>17028</c:v>
                </c:pt>
                <c:pt idx="356">
                  <c:v>17029</c:v>
                </c:pt>
                <c:pt idx="357">
                  <c:v>17029</c:v>
                </c:pt>
                <c:pt idx="358">
                  <c:v>17029</c:v>
                </c:pt>
                <c:pt idx="359">
                  <c:v>17030</c:v>
                </c:pt>
                <c:pt idx="360">
                  <c:v>17031</c:v>
                </c:pt>
                <c:pt idx="361">
                  <c:v>17032</c:v>
                </c:pt>
                <c:pt idx="362">
                  <c:v>17032</c:v>
                </c:pt>
                <c:pt idx="363">
                  <c:v>17032</c:v>
                </c:pt>
                <c:pt idx="364">
                  <c:v>17032</c:v>
                </c:pt>
                <c:pt idx="365">
                  <c:v>17037</c:v>
                </c:pt>
                <c:pt idx="366">
                  <c:v>17038</c:v>
                </c:pt>
                <c:pt idx="367">
                  <c:v>17039</c:v>
                </c:pt>
                <c:pt idx="368">
                  <c:v>17039</c:v>
                </c:pt>
                <c:pt idx="369">
                  <c:v>17039</c:v>
                </c:pt>
                <c:pt idx="370">
                  <c:v>17040</c:v>
                </c:pt>
                <c:pt idx="371">
                  <c:v>17042</c:v>
                </c:pt>
                <c:pt idx="372">
                  <c:v>17043</c:v>
                </c:pt>
                <c:pt idx="373">
                  <c:v>17044</c:v>
                </c:pt>
                <c:pt idx="374">
                  <c:v>17045</c:v>
                </c:pt>
                <c:pt idx="375">
                  <c:v>17045</c:v>
                </c:pt>
                <c:pt idx="376">
                  <c:v>17046</c:v>
                </c:pt>
                <c:pt idx="377">
                  <c:v>17046</c:v>
                </c:pt>
                <c:pt idx="378">
                  <c:v>17047</c:v>
                </c:pt>
                <c:pt idx="379">
                  <c:v>17047</c:v>
                </c:pt>
                <c:pt idx="380">
                  <c:v>17047</c:v>
                </c:pt>
                <c:pt idx="381">
                  <c:v>17047</c:v>
                </c:pt>
                <c:pt idx="382">
                  <c:v>17048</c:v>
                </c:pt>
                <c:pt idx="383">
                  <c:v>17048</c:v>
                </c:pt>
                <c:pt idx="384">
                  <c:v>17052</c:v>
                </c:pt>
                <c:pt idx="385">
                  <c:v>17056</c:v>
                </c:pt>
                <c:pt idx="386">
                  <c:v>17058</c:v>
                </c:pt>
                <c:pt idx="387">
                  <c:v>17058</c:v>
                </c:pt>
                <c:pt idx="388">
                  <c:v>17058</c:v>
                </c:pt>
                <c:pt idx="389">
                  <c:v>17059</c:v>
                </c:pt>
                <c:pt idx="390">
                  <c:v>17060</c:v>
                </c:pt>
                <c:pt idx="391">
                  <c:v>17065</c:v>
                </c:pt>
                <c:pt idx="392">
                  <c:v>17067</c:v>
                </c:pt>
                <c:pt idx="393">
                  <c:v>17074</c:v>
                </c:pt>
                <c:pt idx="394">
                  <c:v>17077</c:v>
                </c:pt>
                <c:pt idx="395">
                  <c:v>17080</c:v>
                </c:pt>
                <c:pt idx="396">
                  <c:v>17080</c:v>
                </c:pt>
                <c:pt idx="397">
                  <c:v>17080</c:v>
                </c:pt>
                <c:pt idx="398">
                  <c:v>17084</c:v>
                </c:pt>
                <c:pt idx="399">
                  <c:v>17089</c:v>
                </c:pt>
                <c:pt idx="400">
                  <c:v>17091</c:v>
                </c:pt>
                <c:pt idx="401">
                  <c:v>17092</c:v>
                </c:pt>
                <c:pt idx="402">
                  <c:v>17094</c:v>
                </c:pt>
                <c:pt idx="403">
                  <c:v>17095</c:v>
                </c:pt>
                <c:pt idx="404">
                  <c:v>17095</c:v>
                </c:pt>
                <c:pt idx="405">
                  <c:v>17097</c:v>
                </c:pt>
                <c:pt idx="406">
                  <c:v>17100</c:v>
                </c:pt>
                <c:pt idx="407">
                  <c:v>17101</c:v>
                </c:pt>
                <c:pt idx="408">
                  <c:v>17104</c:v>
                </c:pt>
                <c:pt idx="409">
                  <c:v>17111</c:v>
                </c:pt>
                <c:pt idx="410">
                  <c:v>17113</c:v>
                </c:pt>
                <c:pt idx="411">
                  <c:v>17114</c:v>
                </c:pt>
                <c:pt idx="412">
                  <c:v>17126</c:v>
                </c:pt>
                <c:pt idx="413">
                  <c:v>17134</c:v>
                </c:pt>
                <c:pt idx="414">
                  <c:v>17145</c:v>
                </c:pt>
                <c:pt idx="415">
                  <c:v>17152</c:v>
                </c:pt>
                <c:pt idx="416">
                  <c:v>17163</c:v>
                </c:pt>
                <c:pt idx="417">
                  <c:v>17163</c:v>
                </c:pt>
                <c:pt idx="418">
                  <c:v>17167</c:v>
                </c:pt>
                <c:pt idx="419">
                  <c:v>17187</c:v>
                </c:pt>
                <c:pt idx="420">
                  <c:v>17193</c:v>
                </c:pt>
                <c:pt idx="421">
                  <c:v>17211</c:v>
                </c:pt>
                <c:pt idx="422">
                  <c:v>17214</c:v>
                </c:pt>
                <c:pt idx="423">
                  <c:v>17222</c:v>
                </c:pt>
                <c:pt idx="424">
                  <c:v>17227</c:v>
                </c:pt>
                <c:pt idx="425">
                  <c:v>17231</c:v>
                </c:pt>
                <c:pt idx="426">
                  <c:v>17272</c:v>
                </c:pt>
                <c:pt idx="427">
                  <c:v>17298</c:v>
                </c:pt>
                <c:pt idx="428">
                  <c:v>17319</c:v>
                </c:pt>
                <c:pt idx="429">
                  <c:v>17344</c:v>
                </c:pt>
                <c:pt idx="430">
                  <c:v>17371</c:v>
                </c:pt>
                <c:pt idx="431">
                  <c:v>17384</c:v>
                </c:pt>
                <c:pt idx="432">
                  <c:v>17389</c:v>
                </c:pt>
                <c:pt idx="433">
                  <c:v>17443</c:v>
                </c:pt>
                <c:pt idx="434">
                  <c:v>17471</c:v>
                </c:pt>
                <c:pt idx="435">
                  <c:v>17502</c:v>
                </c:pt>
                <c:pt idx="436">
                  <c:v>17540</c:v>
                </c:pt>
                <c:pt idx="437">
                  <c:v>17574</c:v>
                </c:pt>
                <c:pt idx="438">
                  <c:v>17594</c:v>
                </c:pt>
                <c:pt idx="439">
                  <c:v>17608</c:v>
                </c:pt>
                <c:pt idx="440">
                  <c:v>17666</c:v>
                </c:pt>
                <c:pt idx="441">
                  <c:v>17701</c:v>
                </c:pt>
                <c:pt idx="442">
                  <c:v>17715</c:v>
                </c:pt>
                <c:pt idx="443">
                  <c:v>17758</c:v>
                </c:pt>
                <c:pt idx="444">
                  <c:v>17810</c:v>
                </c:pt>
                <c:pt idx="445">
                  <c:v>17823</c:v>
                </c:pt>
                <c:pt idx="446">
                  <c:v>17830</c:v>
                </c:pt>
                <c:pt idx="447">
                  <c:v>17904</c:v>
                </c:pt>
                <c:pt idx="448">
                  <c:v>17948</c:v>
                </c:pt>
                <c:pt idx="449">
                  <c:v>17998</c:v>
                </c:pt>
                <c:pt idx="450">
                  <c:v>18047</c:v>
                </c:pt>
                <c:pt idx="451">
                  <c:v>18098</c:v>
                </c:pt>
                <c:pt idx="452">
                  <c:v>18120</c:v>
                </c:pt>
                <c:pt idx="453">
                  <c:v>18127</c:v>
                </c:pt>
                <c:pt idx="454">
                  <c:v>18172</c:v>
                </c:pt>
                <c:pt idx="455">
                  <c:v>18220</c:v>
                </c:pt>
                <c:pt idx="456">
                  <c:v>18263</c:v>
                </c:pt>
                <c:pt idx="457">
                  <c:v>18296</c:v>
                </c:pt>
                <c:pt idx="458">
                  <c:v>18326</c:v>
                </c:pt>
                <c:pt idx="459">
                  <c:v>18347</c:v>
                </c:pt>
                <c:pt idx="460">
                  <c:v>18357</c:v>
                </c:pt>
                <c:pt idx="461">
                  <c:v>18408</c:v>
                </c:pt>
                <c:pt idx="462">
                  <c:v>18444</c:v>
                </c:pt>
                <c:pt idx="463">
                  <c:v>18479</c:v>
                </c:pt>
                <c:pt idx="464">
                  <c:v>18505</c:v>
                </c:pt>
                <c:pt idx="465">
                  <c:v>18524</c:v>
                </c:pt>
                <c:pt idx="466">
                  <c:v>18537</c:v>
                </c:pt>
                <c:pt idx="467">
                  <c:v>18546</c:v>
                </c:pt>
                <c:pt idx="468">
                  <c:v>18581</c:v>
                </c:pt>
                <c:pt idx="469">
                  <c:v>18618</c:v>
                </c:pt>
                <c:pt idx="470">
                  <c:v>18646</c:v>
                </c:pt>
                <c:pt idx="471">
                  <c:v>18664</c:v>
                </c:pt>
                <c:pt idx="472">
                  <c:v>18680</c:v>
                </c:pt>
                <c:pt idx="473">
                  <c:v>18688</c:v>
                </c:pt>
                <c:pt idx="474">
                  <c:v>18698</c:v>
                </c:pt>
                <c:pt idx="475">
                  <c:v>18726</c:v>
                </c:pt>
                <c:pt idx="476">
                  <c:v>18739</c:v>
                </c:pt>
                <c:pt idx="477">
                  <c:v>18748</c:v>
                </c:pt>
                <c:pt idx="478">
                  <c:v>18752</c:v>
                </c:pt>
                <c:pt idx="479">
                  <c:v>18759</c:v>
                </c:pt>
                <c:pt idx="480">
                  <c:v>18762</c:v>
                </c:pt>
                <c:pt idx="481">
                  <c:v>18767</c:v>
                </c:pt>
                <c:pt idx="482">
                  <c:v>18777</c:v>
                </c:pt>
                <c:pt idx="483">
                  <c:v>18794</c:v>
                </c:pt>
                <c:pt idx="484">
                  <c:v>18804</c:v>
                </c:pt>
                <c:pt idx="485">
                  <c:v>18814</c:v>
                </c:pt>
                <c:pt idx="486">
                  <c:v>18820</c:v>
                </c:pt>
                <c:pt idx="487">
                  <c:v>18821</c:v>
                </c:pt>
                <c:pt idx="488">
                  <c:v>18825</c:v>
                </c:pt>
                <c:pt idx="489">
                  <c:v>18845</c:v>
                </c:pt>
                <c:pt idx="490">
                  <c:v>18859</c:v>
                </c:pt>
                <c:pt idx="491">
                  <c:v>18864</c:v>
                </c:pt>
                <c:pt idx="492">
                  <c:v>18873</c:v>
                </c:pt>
                <c:pt idx="493">
                  <c:v>18884</c:v>
                </c:pt>
                <c:pt idx="494">
                  <c:v>18887</c:v>
                </c:pt>
                <c:pt idx="495">
                  <c:v>18890</c:v>
                </c:pt>
                <c:pt idx="496">
                  <c:v>18909</c:v>
                </c:pt>
                <c:pt idx="497">
                  <c:v>18920</c:v>
                </c:pt>
                <c:pt idx="498">
                  <c:v>18929</c:v>
                </c:pt>
                <c:pt idx="499">
                  <c:v>18942</c:v>
                </c:pt>
                <c:pt idx="500">
                  <c:v>18955</c:v>
                </c:pt>
                <c:pt idx="501">
                  <c:v>18961</c:v>
                </c:pt>
                <c:pt idx="502">
                  <c:v>18972</c:v>
                </c:pt>
                <c:pt idx="503">
                  <c:v>19019</c:v>
                </c:pt>
                <c:pt idx="504">
                  <c:v>19054</c:v>
                </c:pt>
                <c:pt idx="505">
                  <c:v>19096</c:v>
                </c:pt>
                <c:pt idx="506">
                  <c:v>19144</c:v>
                </c:pt>
                <c:pt idx="507">
                  <c:v>19212</c:v>
                </c:pt>
                <c:pt idx="508">
                  <c:v>19232</c:v>
                </c:pt>
                <c:pt idx="509">
                  <c:v>19248</c:v>
                </c:pt>
                <c:pt idx="510">
                  <c:v>19343</c:v>
                </c:pt>
                <c:pt idx="511">
                  <c:v>19447</c:v>
                </c:pt>
                <c:pt idx="512">
                  <c:v>19547</c:v>
                </c:pt>
                <c:pt idx="513">
                  <c:v>19606</c:v>
                </c:pt>
                <c:pt idx="514">
                  <c:v>19680</c:v>
                </c:pt>
                <c:pt idx="515">
                  <c:v>19710</c:v>
                </c:pt>
                <c:pt idx="516">
                  <c:v>19741</c:v>
                </c:pt>
                <c:pt idx="517">
                  <c:v>19858</c:v>
                </c:pt>
                <c:pt idx="518">
                  <c:v>19975</c:v>
                </c:pt>
                <c:pt idx="519">
                  <c:v>20058</c:v>
                </c:pt>
                <c:pt idx="520">
                  <c:v>20129</c:v>
                </c:pt>
                <c:pt idx="521">
                  <c:v>20213</c:v>
                </c:pt>
                <c:pt idx="522">
                  <c:v>20245</c:v>
                </c:pt>
                <c:pt idx="523">
                  <c:v>20270</c:v>
                </c:pt>
                <c:pt idx="524">
                  <c:v>20403</c:v>
                </c:pt>
                <c:pt idx="525">
                  <c:v>20495</c:v>
                </c:pt>
                <c:pt idx="526">
                  <c:v>20559</c:v>
                </c:pt>
                <c:pt idx="527">
                  <c:v>20628</c:v>
                </c:pt>
                <c:pt idx="528">
                  <c:v>20680</c:v>
                </c:pt>
                <c:pt idx="529">
                  <c:v>20703</c:v>
                </c:pt>
                <c:pt idx="530">
                  <c:v>20730</c:v>
                </c:pt>
                <c:pt idx="531">
                  <c:v>20820</c:v>
                </c:pt>
                <c:pt idx="532">
                  <c:v>20893</c:v>
                </c:pt>
                <c:pt idx="533">
                  <c:v>20962</c:v>
                </c:pt>
                <c:pt idx="534">
                  <c:v>21003</c:v>
                </c:pt>
                <c:pt idx="535">
                  <c:v>21033</c:v>
                </c:pt>
                <c:pt idx="536">
                  <c:v>21057</c:v>
                </c:pt>
                <c:pt idx="537">
                  <c:v>21068</c:v>
                </c:pt>
                <c:pt idx="538">
                  <c:v>21131</c:v>
                </c:pt>
                <c:pt idx="539">
                  <c:v>21171</c:v>
                </c:pt>
                <c:pt idx="540">
                  <c:v>21210</c:v>
                </c:pt>
                <c:pt idx="541">
                  <c:v>21242</c:v>
                </c:pt>
                <c:pt idx="542">
                  <c:v>21275</c:v>
                </c:pt>
                <c:pt idx="543">
                  <c:v>21291</c:v>
                </c:pt>
                <c:pt idx="544">
                  <c:v>21304</c:v>
                </c:pt>
                <c:pt idx="545">
                  <c:v>21346</c:v>
                </c:pt>
                <c:pt idx="546">
                  <c:v>21383</c:v>
                </c:pt>
                <c:pt idx="547">
                  <c:v>21407</c:v>
                </c:pt>
                <c:pt idx="548">
                  <c:v>21425</c:v>
                </c:pt>
                <c:pt idx="549">
                  <c:v>21437</c:v>
                </c:pt>
                <c:pt idx="550">
                  <c:v>21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52</c:f>
              <c:numCache>
                <c:formatCode>m/d/yyyy</c:formatCode>
                <c:ptCount val="5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</c:numCache>
            </c:numRef>
          </c:cat>
          <c:val>
            <c:numRef>
              <c:f>List1!$D$2:$D$552</c:f>
              <c:numCache>
                <c:formatCode>General</c:formatCode>
                <c:ptCount val="551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3</c:v>
                </c:pt>
                <c:pt idx="7">
                  <c:v>14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4</c:v>
                </c:pt>
                <c:pt idx="12">
                  <c:v>25</c:v>
                </c:pt>
                <c:pt idx="13">
                  <c:v>30</c:v>
                </c:pt>
                <c:pt idx="14">
                  <c:v>31</c:v>
                </c:pt>
                <c:pt idx="15">
                  <c:v>33</c:v>
                </c:pt>
                <c:pt idx="16">
                  <c:v>35</c:v>
                </c:pt>
                <c:pt idx="17">
                  <c:v>39</c:v>
                </c:pt>
                <c:pt idx="18">
                  <c:v>42</c:v>
                </c:pt>
                <c:pt idx="19">
                  <c:v>50</c:v>
                </c:pt>
                <c:pt idx="20">
                  <c:v>56</c:v>
                </c:pt>
                <c:pt idx="21">
                  <c:v>64</c:v>
                </c:pt>
                <c:pt idx="22">
                  <c:v>66</c:v>
                </c:pt>
                <c:pt idx="23">
                  <c:v>73</c:v>
                </c:pt>
                <c:pt idx="24">
                  <c:v>86</c:v>
                </c:pt>
                <c:pt idx="25">
                  <c:v>98</c:v>
                </c:pt>
                <c:pt idx="26">
                  <c:v>105</c:v>
                </c:pt>
                <c:pt idx="27">
                  <c:v>114</c:v>
                </c:pt>
                <c:pt idx="28">
                  <c:v>145</c:v>
                </c:pt>
                <c:pt idx="29">
                  <c:v>183</c:v>
                </c:pt>
                <c:pt idx="30">
                  <c:v>244</c:v>
                </c:pt>
                <c:pt idx="31">
                  <c:v>403</c:v>
                </c:pt>
                <c:pt idx="32">
                  <c:v>470</c:v>
                </c:pt>
                <c:pt idx="33">
                  <c:v>555</c:v>
                </c:pt>
                <c:pt idx="34">
                  <c:v>821</c:v>
                </c:pt>
                <c:pt idx="35">
                  <c:v>954</c:v>
                </c:pt>
                <c:pt idx="36">
                  <c:v>1042</c:v>
                </c:pt>
                <c:pt idx="37">
                  <c:v>1207</c:v>
                </c:pt>
                <c:pt idx="38">
                  <c:v>1439</c:v>
                </c:pt>
                <c:pt idx="39">
                  <c:v>1520</c:v>
                </c:pt>
                <c:pt idx="40">
                  <c:v>1559</c:v>
                </c:pt>
                <c:pt idx="41">
                  <c:v>1876</c:v>
                </c:pt>
                <c:pt idx="42">
                  <c:v>2264</c:v>
                </c:pt>
                <c:pt idx="43">
                  <c:v>2644</c:v>
                </c:pt>
                <c:pt idx="44">
                  <c:v>3059</c:v>
                </c:pt>
                <c:pt idx="45">
                  <c:v>3481</c:v>
                </c:pt>
                <c:pt idx="46">
                  <c:v>3745</c:v>
                </c:pt>
                <c:pt idx="47">
                  <c:v>3836</c:v>
                </c:pt>
                <c:pt idx="48">
                  <c:v>4283</c:v>
                </c:pt>
                <c:pt idx="49">
                  <c:v>4689</c:v>
                </c:pt>
                <c:pt idx="50">
                  <c:v>5290</c:v>
                </c:pt>
                <c:pt idx="51">
                  <c:v>5769</c:v>
                </c:pt>
                <c:pt idx="52">
                  <c:v>6538</c:v>
                </c:pt>
                <c:pt idx="53">
                  <c:v>6957</c:v>
                </c:pt>
                <c:pt idx="54">
                  <c:v>7245</c:v>
                </c:pt>
                <c:pt idx="55">
                  <c:v>8021</c:v>
                </c:pt>
                <c:pt idx="56">
                  <c:v>8980</c:v>
                </c:pt>
                <c:pt idx="57">
                  <c:v>9384</c:v>
                </c:pt>
                <c:pt idx="58">
                  <c:v>10416</c:v>
                </c:pt>
                <c:pt idx="59">
                  <c:v>11352</c:v>
                </c:pt>
                <c:pt idx="60">
                  <c:v>11878</c:v>
                </c:pt>
                <c:pt idx="61">
                  <c:v>12213</c:v>
                </c:pt>
                <c:pt idx="62">
                  <c:v>12867</c:v>
                </c:pt>
                <c:pt idx="63">
                  <c:v>13461</c:v>
                </c:pt>
                <c:pt idx="64">
                  <c:v>14233</c:v>
                </c:pt>
                <c:pt idx="65">
                  <c:v>15068</c:v>
                </c:pt>
                <c:pt idx="66">
                  <c:v>15811</c:v>
                </c:pt>
                <c:pt idx="67">
                  <c:v>16148</c:v>
                </c:pt>
                <c:pt idx="68">
                  <c:v>16280</c:v>
                </c:pt>
                <c:pt idx="69">
                  <c:v>16695</c:v>
                </c:pt>
                <c:pt idx="70">
                  <c:v>17295</c:v>
                </c:pt>
                <c:pt idx="71">
                  <c:v>18253</c:v>
                </c:pt>
                <c:pt idx="72">
                  <c:v>19004</c:v>
                </c:pt>
                <c:pt idx="73">
                  <c:v>19701</c:v>
                </c:pt>
                <c:pt idx="74">
                  <c:v>19963</c:v>
                </c:pt>
                <c:pt idx="75">
                  <c:v>20167</c:v>
                </c:pt>
                <c:pt idx="76">
                  <c:v>20758</c:v>
                </c:pt>
                <c:pt idx="77">
                  <c:v>20949</c:v>
                </c:pt>
                <c:pt idx="78">
                  <c:v>21389</c:v>
                </c:pt>
                <c:pt idx="79">
                  <c:v>21803</c:v>
                </c:pt>
                <c:pt idx="80">
                  <c:v>22175</c:v>
                </c:pt>
                <c:pt idx="81">
                  <c:v>22311</c:v>
                </c:pt>
                <c:pt idx="82">
                  <c:v>22423</c:v>
                </c:pt>
                <c:pt idx="83">
                  <c:v>22958</c:v>
                </c:pt>
                <c:pt idx="84">
                  <c:v>23271</c:v>
                </c:pt>
                <c:pt idx="85">
                  <c:v>23499</c:v>
                </c:pt>
                <c:pt idx="86">
                  <c:v>23757</c:v>
                </c:pt>
                <c:pt idx="87">
                  <c:v>23981</c:v>
                </c:pt>
                <c:pt idx="88">
                  <c:v>24082</c:v>
                </c:pt>
                <c:pt idx="89">
                  <c:v>24127</c:v>
                </c:pt>
                <c:pt idx="90">
                  <c:v>24455</c:v>
                </c:pt>
                <c:pt idx="91">
                  <c:v>24671</c:v>
                </c:pt>
                <c:pt idx="92">
                  <c:v>24880</c:v>
                </c:pt>
                <c:pt idx="93">
                  <c:v>25074</c:v>
                </c:pt>
                <c:pt idx="94">
                  <c:v>25316</c:v>
                </c:pt>
                <c:pt idx="95">
                  <c:v>25448</c:v>
                </c:pt>
                <c:pt idx="96">
                  <c:v>25498</c:v>
                </c:pt>
                <c:pt idx="97">
                  <c:v>25763</c:v>
                </c:pt>
                <c:pt idx="98">
                  <c:v>25934</c:v>
                </c:pt>
                <c:pt idx="99">
                  <c:v>26141</c:v>
                </c:pt>
                <c:pt idx="100">
                  <c:v>26289</c:v>
                </c:pt>
                <c:pt idx="101">
                  <c:v>26609</c:v>
                </c:pt>
                <c:pt idx="102">
                  <c:v>26697</c:v>
                </c:pt>
                <c:pt idx="103">
                  <c:v>26765</c:v>
                </c:pt>
                <c:pt idx="104">
                  <c:v>27057</c:v>
                </c:pt>
                <c:pt idx="105">
                  <c:v>27264</c:v>
                </c:pt>
                <c:pt idx="106">
                  <c:v>27462</c:v>
                </c:pt>
                <c:pt idx="107">
                  <c:v>27587</c:v>
                </c:pt>
                <c:pt idx="108">
                  <c:v>27899</c:v>
                </c:pt>
                <c:pt idx="109">
                  <c:v>27992</c:v>
                </c:pt>
                <c:pt idx="110">
                  <c:v>28043</c:v>
                </c:pt>
                <c:pt idx="111">
                  <c:v>28391</c:v>
                </c:pt>
                <c:pt idx="112">
                  <c:v>28686</c:v>
                </c:pt>
                <c:pt idx="113">
                  <c:v>28937</c:v>
                </c:pt>
                <c:pt idx="114">
                  <c:v>28987</c:v>
                </c:pt>
                <c:pt idx="115">
                  <c:v>29110</c:v>
                </c:pt>
                <c:pt idx="116">
                  <c:v>29244</c:v>
                </c:pt>
                <c:pt idx="117">
                  <c:v>29391</c:v>
                </c:pt>
                <c:pt idx="118">
                  <c:v>29755</c:v>
                </c:pt>
                <c:pt idx="119">
                  <c:v>30091</c:v>
                </c:pt>
                <c:pt idx="120">
                  <c:v>30355</c:v>
                </c:pt>
                <c:pt idx="121">
                  <c:v>30584</c:v>
                </c:pt>
                <c:pt idx="122">
                  <c:v>30686</c:v>
                </c:pt>
                <c:pt idx="123">
                  <c:v>30815</c:v>
                </c:pt>
                <c:pt idx="124">
                  <c:v>30898</c:v>
                </c:pt>
                <c:pt idx="125">
                  <c:v>31471</c:v>
                </c:pt>
                <c:pt idx="126">
                  <c:v>31778</c:v>
                </c:pt>
                <c:pt idx="127">
                  <c:v>32063</c:v>
                </c:pt>
                <c:pt idx="128">
                  <c:v>32407</c:v>
                </c:pt>
                <c:pt idx="129">
                  <c:v>32731</c:v>
                </c:pt>
                <c:pt idx="130">
                  <c:v>32856</c:v>
                </c:pt>
                <c:pt idx="131">
                  <c:v>32919</c:v>
                </c:pt>
                <c:pt idx="132">
                  <c:v>33411</c:v>
                </c:pt>
                <c:pt idx="133">
                  <c:v>33642</c:v>
                </c:pt>
                <c:pt idx="134">
                  <c:v>33930</c:v>
                </c:pt>
                <c:pt idx="135">
                  <c:v>34087</c:v>
                </c:pt>
                <c:pt idx="136">
                  <c:v>34248</c:v>
                </c:pt>
                <c:pt idx="137">
                  <c:v>34319</c:v>
                </c:pt>
                <c:pt idx="138">
                  <c:v>34395</c:v>
                </c:pt>
                <c:pt idx="139">
                  <c:v>34694</c:v>
                </c:pt>
                <c:pt idx="140">
                  <c:v>34855</c:v>
                </c:pt>
                <c:pt idx="141">
                  <c:v>35075</c:v>
                </c:pt>
                <c:pt idx="142">
                  <c:v>35253</c:v>
                </c:pt>
                <c:pt idx="143">
                  <c:v>35455</c:v>
                </c:pt>
                <c:pt idx="144">
                  <c:v>35536</c:v>
                </c:pt>
                <c:pt idx="145">
                  <c:v>35576</c:v>
                </c:pt>
                <c:pt idx="146">
                  <c:v>35755</c:v>
                </c:pt>
                <c:pt idx="147">
                  <c:v>35877</c:v>
                </c:pt>
                <c:pt idx="148">
                  <c:v>36033</c:v>
                </c:pt>
                <c:pt idx="149">
                  <c:v>36136</c:v>
                </c:pt>
                <c:pt idx="150">
                  <c:v>36225</c:v>
                </c:pt>
                <c:pt idx="151">
                  <c:v>36305</c:v>
                </c:pt>
                <c:pt idx="152">
                  <c:v>36331</c:v>
                </c:pt>
                <c:pt idx="153">
                  <c:v>36522</c:v>
                </c:pt>
                <c:pt idx="154">
                  <c:v>36697</c:v>
                </c:pt>
                <c:pt idx="155">
                  <c:v>36860</c:v>
                </c:pt>
                <c:pt idx="156">
                  <c:v>36993</c:v>
                </c:pt>
                <c:pt idx="157">
                  <c:v>37134</c:v>
                </c:pt>
                <c:pt idx="158">
                  <c:v>37191</c:v>
                </c:pt>
                <c:pt idx="159">
                  <c:v>37225</c:v>
                </c:pt>
                <c:pt idx="160">
                  <c:v>37367</c:v>
                </c:pt>
                <c:pt idx="161">
                  <c:v>37455</c:v>
                </c:pt>
                <c:pt idx="162">
                  <c:v>37557</c:v>
                </c:pt>
                <c:pt idx="163">
                  <c:v>37668</c:v>
                </c:pt>
                <c:pt idx="164">
                  <c:v>37760</c:v>
                </c:pt>
                <c:pt idx="165">
                  <c:v>37784</c:v>
                </c:pt>
                <c:pt idx="166">
                  <c:v>37816</c:v>
                </c:pt>
                <c:pt idx="167">
                  <c:v>37920</c:v>
                </c:pt>
                <c:pt idx="168">
                  <c:v>37973</c:v>
                </c:pt>
                <c:pt idx="169">
                  <c:v>38040</c:v>
                </c:pt>
                <c:pt idx="170">
                  <c:v>38105</c:v>
                </c:pt>
                <c:pt idx="171">
                  <c:v>38174</c:v>
                </c:pt>
                <c:pt idx="172">
                  <c:v>38201</c:v>
                </c:pt>
                <c:pt idx="173">
                  <c:v>38232</c:v>
                </c:pt>
                <c:pt idx="174">
                  <c:v>38404</c:v>
                </c:pt>
                <c:pt idx="175">
                  <c:v>38488</c:v>
                </c:pt>
                <c:pt idx="176">
                  <c:v>38559</c:v>
                </c:pt>
                <c:pt idx="177">
                  <c:v>38640</c:v>
                </c:pt>
                <c:pt idx="178">
                  <c:v>38736</c:v>
                </c:pt>
                <c:pt idx="179">
                  <c:v>38759</c:v>
                </c:pt>
                <c:pt idx="180">
                  <c:v>38772</c:v>
                </c:pt>
                <c:pt idx="181">
                  <c:v>38918</c:v>
                </c:pt>
                <c:pt idx="182">
                  <c:v>38989</c:v>
                </c:pt>
                <c:pt idx="183">
                  <c:v>39092</c:v>
                </c:pt>
                <c:pt idx="184">
                  <c:v>39151</c:v>
                </c:pt>
                <c:pt idx="185">
                  <c:v>39211</c:v>
                </c:pt>
                <c:pt idx="186">
                  <c:v>39232</c:v>
                </c:pt>
                <c:pt idx="187">
                  <c:v>39252</c:v>
                </c:pt>
                <c:pt idx="188">
                  <c:v>39344</c:v>
                </c:pt>
                <c:pt idx="189">
                  <c:v>39492</c:v>
                </c:pt>
                <c:pt idx="190">
                  <c:v>39583</c:v>
                </c:pt>
                <c:pt idx="191">
                  <c:v>39627</c:v>
                </c:pt>
                <c:pt idx="192">
                  <c:v>39681</c:v>
                </c:pt>
                <c:pt idx="193">
                  <c:v>39702</c:v>
                </c:pt>
                <c:pt idx="194">
                  <c:v>39716</c:v>
                </c:pt>
                <c:pt idx="195">
                  <c:v>39788</c:v>
                </c:pt>
                <c:pt idx="196">
                  <c:v>39836</c:v>
                </c:pt>
                <c:pt idx="197">
                  <c:v>39875</c:v>
                </c:pt>
                <c:pt idx="198">
                  <c:v>39928</c:v>
                </c:pt>
                <c:pt idx="199">
                  <c:v>39970</c:v>
                </c:pt>
                <c:pt idx="200">
                  <c:v>39982</c:v>
                </c:pt>
                <c:pt idx="201">
                  <c:v>39991</c:v>
                </c:pt>
                <c:pt idx="202">
                  <c:v>40043</c:v>
                </c:pt>
                <c:pt idx="203">
                  <c:v>40093</c:v>
                </c:pt>
                <c:pt idx="204">
                  <c:v>40126</c:v>
                </c:pt>
                <c:pt idx="205">
                  <c:v>40168</c:v>
                </c:pt>
                <c:pt idx="206">
                  <c:v>40193</c:v>
                </c:pt>
                <c:pt idx="207">
                  <c:v>40199</c:v>
                </c:pt>
                <c:pt idx="208">
                  <c:v>40204</c:v>
                </c:pt>
                <c:pt idx="209">
                  <c:v>40251</c:v>
                </c:pt>
                <c:pt idx="210">
                  <c:v>40284</c:v>
                </c:pt>
                <c:pt idx="211">
                  <c:v>40309</c:v>
                </c:pt>
                <c:pt idx="212">
                  <c:v>40333</c:v>
                </c:pt>
                <c:pt idx="213">
                  <c:v>40342</c:v>
                </c:pt>
                <c:pt idx="214">
                  <c:v>40350</c:v>
                </c:pt>
                <c:pt idx="215">
                  <c:v>40354</c:v>
                </c:pt>
                <c:pt idx="216">
                  <c:v>40363</c:v>
                </c:pt>
                <c:pt idx="217">
                  <c:v>40390</c:v>
                </c:pt>
                <c:pt idx="218">
                  <c:v>40427</c:v>
                </c:pt>
                <c:pt idx="219">
                  <c:v>40446</c:v>
                </c:pt>
                <c:pt idx="220">
                  <c:v>40457</c:v>
                </c:pt>
                <c:pt idx="221">
                  <c:v>40464</c:v>
                </c:pt>
                <c:pt idx="222">
                  <c:v>40465</c:v>
                </c:pt>
                <c:pt idx="223">
                  <c:v>40475</c:v>
                </c:pt>
                <c:pt idx="224">
                  <c:v>40486</c:v>
                </c:pt>
                <c:pt idx="225">
                  <c:v>40495</c:v>
                </c:pt>
                <c:pt idx="226">
                  <c:v>40506</c:v>
                </c:pt>
                <c:pt idx="227">
                  <c:v>40514</c:v>
                </c:pt>
                <c:pt idx="228">
                  <c:v>40516</c:v>
                </c:pt>
                <c:pt idx="229">
                  <c:v>40519</c:v>
                </c:pt>
                <c:pt idx="230">
                  <c:v>40537</c:v>
                </c:pt>
                <c:pt idx="231">
                  <c:v>40549</c:v>
                </c:pt>
                <c:pt idx="232">
                  <c:v>40559</c:v>
                </c:pt>
                <c:pt idx="233">
                  <c:v>40582</c:v>
                </c:pt>
                <c:pt idx="234">
                  <c:v>40593</c:v>
                </c:pt>
                <c:pt idx="235">
                  <c:v>40595</c:v>
                </c:pt>
                <c:pt idx="236">
                  <c:v>40595</c:v>
                </c:pt>
                <c:pt idx="237">
                  <c:v>40605</c:v>
                </c:pt>
                <c:pt idx="238">
                  <c:v>40618</c:v>
                </c:pt>
                <c:pt idx="239">
                  <c:v>40623</c:v>
                </c:pt>
                <c:pt idx="240">
                  <c:v>40628</c:v>
                </c:pt>
                <c:pt idx="241">
                  <c:v>40635</c:v>
                </c:pt>
                <c:pt idx="242">
                  <c:v>40635</c:v>
                </c:pt>
                <c:pt idx="243">
                  <c:v>40636</c:v>
                </c:pt>
                <c:pt idx="244">
                  <c:v>40642</c:v>
                </c:pt>
                <c:pt idx="245">
                  <c:v>40644</c:v>
                </c:pt>
                <c:pt idx="246">
                  <c:v>40648</c:v>
                </c:pt>
                <c:pt idx="247">
                  <c:v>40653</c:v>
                </c:pt>
                <c:pt idx="248">
                  <c:v>40656</c:v>
                </c:pt>
                <c:pt idx="249">
                  <c:v>40657</c:v>
                </c:pt>
                <c:pt idx="250">
                  <c:v>40660</c:v>
                </c:pt>
                <c:pt idx="251">
                  <c:v>40668</c:v>
                </c:pt>
                <c:pt idx="252">
                  <c:v>40674</c:v>
                </c:pt>
                <c:pt idx="253">
                  <c:v>40674</c:v>
                </c:pt>
                <c:pt idx="254">
                  <c:v>40679</c:v>
                </c:pt>
                <c:pt idx="255">
                  <c:v>40685</c:v>
                </c:pt>
                <c:pt idx="256">
                  <c:v>40686</c:v>
                </c:pt>
                <c:pt idx="257">
                  <c:v>40686</c:v>
                </c:pt>
                <c:pt idx="258">
                  <c:v>40694</c:v>
                </c:pt>
                <c:pt idx="259">
                  <c:v>40699</c:v>
                </c:pt>
                <c:pt idx="260">
                  <c:v>40703</c:v>
                </c:pt>
                <c:pt idx="261">
                  <c:v>40706</c:v>
                </c:pt>
                <c:pt idx="262">
                  <c:v>40707</c:v>
                </c:pt>
                <c:pt idx="263">
                  <c:v>40707</c:v>
                </c:pt>
                <c:pt idx="264">
                  <c:v>40707</c:v>
                </c:pt>
                <c:pt idx="265">
                  <c:v>40711</c:v>
                </c:pt>
                <c:pt idx="266">
                  <c:v>40712</c:v>
                </c:pt>
                <c:pt idx="267">
                  <c:v>40713</c:v>
                </c:pt>
                <c:pt idx="268">
                  <c:v>40715</c:v>
                </c:pt>
                <c:pt idx="269">
                  <c:v>40715</c:v>
                </c:pt>
                <c:pt idx="270">
                  <c:v>40715</c:v>
                </c:pt>
                <c:pt idx="271">
                  <c:v>40715</c:v>
                </c:pt>
                <c:pt idx="272">
                  <c:v>40716</c:v>
                </c:pt>
                <c:pt idx="273">
                  <c:v>40716</c:v>
                </c:pt>
                <c:pt idx="274">
                  <c:v>40719</c:v>
                </c:pt>
                <c:pt idx="275">
                  <c:v>40722</c:v>
                </c:pt>
                <c:pt idx="276">
                  <c:v>40722</c:v>
                </c:pt>
                <c:pt idx="277">
                  <c:v>40722</c:v>
                </c:pt>
                <c:pt idx="278">
                  <c:v>40722</c:v>
                </c:pt>
                <c:pt idx="279">
                  <c:v>40723</c:v>
                </c:pt>
                <c:pt idx="280">
                  <c:v>40723</c:v>
                </c:pt>
                <c:pt idx="281">
                  <c:v>40723</c:v>
                </c:pt>
                <c:pt idx="282">
                  <c:v>40723</c:v>
                </c:pt>
                <c:pt idx="283">
                  <c:v>40724</c:v>
                </c:pt>
                <c:pt idx="284">
                  <c:v>40724</c:v>
                </c:pt>
                <c:pt idx="285">
                  <c:v>40724</c:v>
                </c:pt>
                <c:pt idx="286">
                  <c:v>40724</c:v>
                </c:pt>
                <c:pt idx="287">
                  <c:v>40724</c:v>
                </c:pt>
                <c:pt idx="288">
                  <c:v>40724</c:v>
                </c:pt>
                <c:pt idx="289">
                  <c:v>40725</c:v>
                </c:pt>
                <c:pt idx="290">
                  <c:v>40725</c:v>
                </c:pt>
                <c:pt idx="291">
                  <c:v>40725</c:v>
                </c:pt>
                <c:pt idx="292">
                  <c:v>40725</c:v>
                </c:pt>
                <c:pt idx="293">
                  <c:v>40725</c:v>
                </c:pt>
                <c:pt idx="294">
                  <c:v>40725</c:v>
                </c:pt>
                <c:pt idx="295">
                  <c:v>40726</c:v>
                </c:pt>
                <c:pt idx="296">
                  <c:v>40728</c:v>
                </c:pt>
                <c:pt idx="297">
                  <c:v>40728</c:v>
                </c:pt>
                <c:pt idx="298">
                  <c:v>40728</c:v>
                </c:pt>
                <c:pt idx="299">
                  <c:v>40728</c:v>
                </c:pt>
                <c:pt idx="300">
                  <c:v>40729</c:v>
                </c:pt>
                <c:pt idx="301">
                  <c:v>40729</c:v>
                </c:pt>
                <c:pt idx="302">
                  <c:v>40730</c:v>
                </c:pt>
                <c:pt idx="303">
                  <c:v>40731</c:v>
                </c:pt>
                <c:pt idx="304">
                  <c:v>40731</c:v>
                </c:pt>
                <c:pt idx="305">
                  <c:v>40731</c:v>
                </c:pt>
                <c:pt idx="306">
                  <c:v>40732</c:v>
                </c:pt>
                <c:pt idx="307">
                  <c:v>40732</c:v>
                </c:pt>
                <c:pt idx="308">
                  <c:v>40732</c:v>
                </c:pt>
                <c:pt idx="309">
                  <c:v>40733</c:v>
                </c:pt>
                <c:pt idx="310">
                  <c:v>40735</c:v>
                </c:pt>
                <c:pt idx="311">
                  <c:v>40735</c:v>
                </c:pt>
                <c:pt idx="312">
                  <c:v>40735</c:v>
                </c:pt>
                <c:pt idx="313">
                  <c:v>40736</c:v>
                </c:pt>
                <c:pt idx="314">
                  <c:v>40736</c:v>
                </c:pt>
                <c:pt idx="315">
                  <c:v>40736</c:v>
                </c:pt>
                <c:pt idx="316">
                  <c:v>40736</c:v>
                </c:pt>
                <c:pt idx="317">
                  <c:v>40736</c:v>
                </c:pt>
                <c:pt idx="318">
                  <c:v>40736</c:v>
                </c:pt>
                <c:pt idx="319">
                  <c:v>40736</c:v>
                </c:pt>
                <c:pt idx="320">
                  <c:v>40736</c:v>
                </c:pt>
                <c:pt idx="321">
                  <c:v>40736</c:v>
                </c:pt>
                <c:pt idx="322">
                  <c:v>40736</c:v>
                </c:pt>
                <c:pt idx="323">
                  <c:v>40737</c:v>
                </c:pt>
                <c:pt idx="324">
                  <c:v>40737</c:v>
                </c:pt>
                <c:pt idx="325">
                  <c:v>40737</c:v>
                </c:pt>
                <c:pt idx="326">
                  <c:v>40738</c:v>
                </c:pt>
                <c:pt idx="327">
                  <c:v>40738</c:v>
                </c:pt>
                <c:pt idx="328">
                  <c:v>40738</c:v>
                </c:pt>
                <c:pt idx="329">
                  <c:v>40739</c:v>
                </c:pt>
                <c:pt idx="330">
                  <c:v>40741</c:v>
                </c:pt>
                <c:pt idx="331">
                  <c:v>40741</c:v>
                </c:pt>
                <c:pt idx="332">
                  <c:v>40741</c:v>
                </c:pt>
                <c:pt idx="333">
                  <c:v>40741</c:v>
                </c:pt>
                <c:pt idx="334">
                  <c:v>40741</c:v>
                </c:pt>
                <c:pt idx="335">
                  <c:v>40741</c:v>
                </c:pt>
                <c:pt idx="336">
                  <c:v>40741</c:v>
                </c:pt>
                <c:pt idx="337">
                  <c:v>40741</c:v>
                </c:pt>
                <c:pt idx="338">
                  <c:v>40741</c:v>
                </c:pt>
                <c:pt idx="339">
                  <c:v>40741</c:v>
                </c:pt>
                <c:pt idx="340">
                  <c:v>40741</c:v>
                </c:pt>
                <c:pt idx="341">
                  <c:v>40742</c:v>
                </c:pt>
                <c:pt idx="342">
                  <c:v>40742</c:v>
                </c:pt>
                <c:pt idx="343">
                  <c:v>40742</c:v>
                </c:pt>
                <c:pt idx="344">
                  <c:v>40743</c:v>
                </c:pt>
                <c:pt idx="345">
                  <c:v>40743</c:v>
                </c:pt>
                <c:pt idx="346">
                  <c:v>40743</c:v>
                </c:pt>
                <c:pt idx="347">
                  <c:v>40743</c:v>
                </c:pt>
                <c:pt idx="348">
                  <c:v>40743</c:v>
                </c:pt>
                <c:pt idx="349">
                  <c:v>40744</c:v>
                </c:pt>
                <c:pt idx="350">
                  <c:v>40745</c:v>
                </c:pt>
                <c:pt idx="351">
                  <c:v>40745</c:v>
                </c:pt>
                <c:pt idx="352">
                  <c:v>40746</c:v>
                </c:pt>
                <c:pt idx="353">
                  <c:v>40746</c:v>
                </c:pt>
                <c:pt idx="354">
                  <c:v>40746</c:v>
                </c:pt>
                <c:pt idx="355">
                  <c:v>40746</c:v>
                </c:pt>
                <c:pt idx="356">
                  <c:v>40749</c:v>
                </c:pt>
                <c:pt idx="357">
                  <c:v>40749</c:v>
                </c:pt>
                <c:pt idx="358">
                  <c:v>40749</c:v>
                </c:pt>
                <c:pt idx="359">
                  <c:v>40750</c:v>
                </c:pt>
                <c:pt idx="360">
                  <c:v>40751</c:v>
                </c:pt>
                <c:pt idx="361">
                  <c:v>40752</c:v>
                </c:pt>
                <c:pt idx="362">
                  <c:v>40752</c:v>
                </c:pt>
                <c:pt idx="363">
                  <c:v>40752</c:v>
                </c:pt>
                <c:pt idx="364">
                  <c:v>40752</c:v>
                </c:pt>
                <c:pt idx="365">
                  <c:v>40758</c:v>
                </c:pt>
                <c:pt idx="366">
                  <c:v>40763</c:v>
                </c:pt>
                <c:pt idx="367">
                  <c:v>40766</c:v>
                </c:pt>
                <c:pt idx="368">
                  <c:v>40767</c:v>
                </c:pt>
                <c:pt idx="369">
                  <c:v>40767</c:v>
                </c:pt>
                <c:pt idx="370">
                  <c:v>40772</c:v>
                </c:pt>
                <c:pt idx="371">
                  <c:v>40774</c:v>
                </c:pt>
                <c:pt idx="372">
                  <c:v>40775</c:v>
                </c:pt>
                <c:pt idx="373">
                  <c:v>40777</c:v>
                </c:pt>
                <c:pt idx="374">
                  <c:v>40778</c:v>
                </c:pt>
                <c:pt idx="375">
                  <c:v>40778</c:v>
                </c:pt>
                <c:pt idx="376">
                  <c:v>40779</c:v>
                </c:pt>
                <c:pt idx="377">
                  <c:v>40780</c:v>
                </c:pt>
                <c:pt idx="378">
                  <c:v>40781</c:v>
                </c:pt>
                <c:pt idx="379">
                  <c:v>40781</c:v>
                </c:pt>
                <c:pt idx="380">
                  <c:v>40781</c:v>
                </c:pt>
                <c:pt idx="381">
                  <c:v>40781</c:v>
                </c:pt>
                <c:pt idx="382">
                  <c:v>40782</c:v>
                </c:pt>
                <c:pt idx="383">
                  <c:v>40782</c:v>
                </c:pt>
                <c:pt idx="384">
                  <c:v>40787</c:v>
                </c:pt>
                <c:pt idx="385">
                  <c:v>40795</c:v>
                </c:pt>
                <c:pt idx="386">
                  <c:v>40798</c:v>
                </c:pt>
                <c:pt idx="387">
                  <c:v>40798</c:v>
                </c:pt>
                <c:pt idx="388">
                  <c:v>40798</c:v>
                </c:pt>
                <c:pt idx="389">
                  <c:v>40799</c:v>
                </c:pt>
                <c:pt idx="390">
                  <c:v>40800</c:v>
                </c:pt>
                <c:pt idx="391">
                  <c:v>40807</c:v>
                </c:pt>
                <c:pt idx="392">
                  <c:v>40809</c:v>
                </c:pt>
                <c:pt idx="393">
                  <c:v>40817</c:v>
                </c:pt>
                <c:pt idx="394">
                  <c:v>40820</c:v>
                </c:pt>
                <c:pt idx="395">
                  <c:v>40824</c:v>
                </c:pt>
                <c:pt idx="396">
                  <c:v>40825</c:v>
                </c:pt>
                <c:pt idx="397">
                  <c:v>40826</c:v>
                </c:pt>
                <c:pt idx="398">
                  <c:v>40832</c:v>
                </c:pt>
                <c:pt idx="399">
                  <c:v>40839</c:v>
                </c:pt>
                <c:pt idx="400">
                  <c:v>40852</c:v>
                </c:pt>
                <c:pt idx="401">
                  <c:v>40855</c:v>
                </c:pt>
                <c:pt idx="402">
                  <c:v>40882</c:v>
                </c:pt>
                <c:pt idx="403">
                  <c:v>40884</c:v>
                </c:pt>
                <c:pt idx="404">
                  <c:v>40884</c:v>
                </c:pt>
                <c:pt idx="405">
                  <c:v>40887</c:v>
                </c:pt>
                <c:pt idx="406">
                  <c:v>40891</c:v>
                </c:pt>
                <c:pt idx="407">
                  <c:v>40912</c:v>
                </c:pt>
                <c:pt idx="408">
                  <c:v>40918</c:v>
                </c:pt>
                <c:pt idx="409">
                  <c:v>40927</c:v>
                </c:pt>
                <c:pt idx="410">
                  <c:v>40929</c:v>
                </c:pt>
                <c:pt idx="411">
                  <c:v>40930</c:v>
                </c:pt>
                <c:pt idx="412">
                  <c:v>40948</c:v>
                </c:pt>
                <c:pt idx="413">
                  <c:v>40961</c:v>
                </c:pt>
                <c:pt idx="414">
                  <c:v>40976</c:v>
                </c:pt>
                <c:pt idx="415">
                  <c:v>40985</c:v>
                </c:pt>
                <c:pt idx="416">
                  <c:v>41001</c:v>
                </c:pt>
                <c:pt idx="417">
                  <c:v>41002</c:v>
                </c:pt>
                <c:pt idx="418">
                  <c:v>41007</c:v>
                </c:pt>
                <c:pt idx="419">
                  <c:v>41041</c:v>
                </c:pt>
                <c:pt idx="420">
                  <c:v>41056</c:v>
                </c:pt>
                <c:pt idx="421">
                  <c:v>41085</c:v>
                </c:pt>
                <c:pt idx="422">
                  <c:v>41088</c:v>
                </c:pt>
                <c:pt idx="423">
                  <c:v>41114</c:v>
                </c:pt>
                <c:pt idx="424">
                  <c:v>41126</c:v>
                </c:pt>
                <c:pt idx="425">
                  <c:v>41141</c:v>
                </c:pt>
                <c:pt idx="426">
                  <c:v>41217</c:v>
                </c:pt>
                <c:pt idx="427">
                  <c:v>41258</c:v>
                </c:pt>
                <c:pt idx="428">
                  <c:v>41295</c:v>
                </c:pt>
                <c:pt idx="429">
                  <c:v>41373</c:v>
                </c:pt>
                <c:pt idx="430">
                  <c:v>41423</c:v>
                </c:pt>
                <c:pt idx="431">
                  <c:v>41442</c:v>
                </c:pt>
                <c:pt idx="432">
                  <c:v>41452</c:v>
                </c:pt>
                <c:pt idx="433">
                  <c:v>41536</c:v>
                </c:pt>
                <c:pt idx="434">
                  <c:v>41594</c:v>
                </c:pt>
                <c:pt idx="435">
                  <c:v>41641</c:v>
                </c:pt>
                <c:pt idx="436">
                  <c:v>41698</c:v>
                </c:pt>
                <c:pt idx="437">
                  <c:v>41749</c:v>
                </c:pt>
                <c:pt idx="438">
                  <c:v>41782</c:v>
                </c:pt>
                <c:pt idx="439">
                  <c:v>41811</c:v>
                </c:pt>
                <c:pt idx="440">
                  <c:v>41912</c:v>
                </c:pt>
                <c:pt idx="441">
                  <c:v>41979</c:v>
                </c:pt>
                <c:pt idx="442">
                  <c:v>42018</c:v>
                </c:pt>
                <c:pt idx="443">
                  <c:v>42117</c:v>
                </c:pt>
                <c:pt idx="444">
                  <c:v>42254</c:v>
                </c:pt>
                <c:pt idx="445">
                  <c:v>42293</c:v>
                </c:pt>
                <c:pt idx="446">
                  <c:v>42309</c:v>
                </c:pt>
                <c:pt idx="447">
                  <c:v>42433</c:v>
                </c:pt>
                <c:pt idx="448">
                  <c:v>42501</c:v>
                </c:pt>
                <c:pt idx="449">
                  <c:v>42593</c:v>
                </c:pt>
                <c:pt idx="450">
                  <c:v>42671</c:v>
                </c:pt>
                <c:pt idx="451">
                  <c:v>42775</c:v>
                </c:pt>
                <c:pt idx="452">
                  <c:v>42802</c:v>
                </c:pt>
                <c:pt idx="453">
                  <c:v>42816</c:v>
                </c:pt>
                <c:pt idx="454">
                  <c:v>42905</c:v>
                </c:pt>
                <c:pt idx="455">
                  <c:v>42968</c:v>
                </c:pt>
                <c:pt idx="456">
                  <c:v>43042</c:v>
                </c:pt>
                <c:pt idx="457">
                  <c:v>43106</c:v>
                </c:pt>
                <c:pt idx="458">
                  <c:v>43150</c:v>
                </c:pt>
                <c:pt idx="459">
                  <c:v>43209</c:v>
                </c:pt>
                <c:pt idx="460">
                  <c:v>43226</c:v>
                </c:pt>
                <c:pt idx="461">
                  <c:v>43308</c:v>
                </c:pt>
                <c:pt idx="462">
                  <c:v>43366</c:v>
                </c:pt>
                <c:pt idx="463">
                  <c:v>43419</c:v>
                </c:pt>
                <c:pt idx="464">
                  <c:v>43476</c:v>
                </c:pt>
                <c:pt idx="465">
                  <c:v>43525</c:v>
                </c:pt>
                <c:pt idx="466">
                  <c:v>43544</c:v>
                </c:pt>
                <c:pt idx="467">
                  <c:v>43554</c:v>
                </c:pt>
                <c:pt idx="468">
                  <c:v>43606</c:v>
                </c:pt>
                <c:pt idx="469">
                  <c:v>43670</c:v>
                </c:pt>
                <c:pt idx="470">
                  <c:v>43715</c:v>
                </c:pt>
                <c:pt idx="471">
                  <c:v>43740</c:v>
                </c:pt>
                <c:pt idx="472">
                  <c:v>43768</c:v>
                </c:pt>
                <c:pt idx="473">
                  <c:v>43778</c:v>
                </c:pt>
                <c:pt idx="474">
                  <c:v>43791</c:v>
                </c:pt>
                <c:pt idx="475">
                  <c:v>43835</c:v>
                </c:pt>
                <c:pt idx="476">
                  <c:v>43856</c:v>
                </c:pt>
                <c:pt idx="477">
                  <c:v>43868</c:v>
                </c:pt>
                <c:pt idx="478">
                  <c:v>43877</c:v>
                </c:pt>
                <c:pt idx="479">
                  <c:v>43885</c:v>
                </c:pt>
                <c:pt idx="480">
                  <c:v>43893</c:v>
                </c:pt>
                <c:pt idx="481">
                  <c:v>43898</c:v>
                </c:pt>
                <c:pt idx="482">
                  <c:v>43918</c:v>
                </c:pt>
                <c:pt idx="483">
                  <c:v>43941</c:v>
                </c:pt>
                <c:pt idx="484">
                  <c:v>43957</c:v>
                </c:pt>
                <c:pt idx="485">
                  <c:v>43969</c:v>
                </c:pt>
                <c:pt idx="486">
                  <c:v>43985</c:v>
                </c:pt>
                <c:pt idx="487">
                  <c:v>43988</c:v>
                </c:pt>
                <c:pt idx="488">
                  <c:v>43992</c:v>
                </c:pt>
                <c:pt idx="489">
                  <c:v>44016</c:v>
                </c:pt>
                <c:pt idx="490">
                  <c:v>44036</c:v>
                </c:pt>
                <c:pt idx="491">
                  <c:v>44048</c:v>
                </c:pt>
                <c:pt idx="492">
                  <c:v>44064</c:v>
                </c:pt>
                <c:pt idx="493">
                  <c:v>44081</c:v>
                </c:pt>
                <c:pt idx="494">
                  <c:v>44085</c:v>
                </c:pt>
                <c:pt idx="495">
                  <c:v>44090</c:v>
                </c:pt>
                <c:pt idx="496">
                  <c:v>44110</c:v>
                </c:pt>
                <c:pt idx="497">
                  <c:v>44129</c:v>
                </c:pt>
                <c:pt idx="498">
                  <c:v>44142</c:v>
                </c:pt>
                <c:pt idx="499">
                  <c:v>44158</c:v>
                </c:pt>
                <c:pt idx="500">
                  <c:v>44179</c:v>
                </c:pt>
                <c:pt idx="501">
                  <c:v>44186</c:v>
                </c:pt>
                <c:pt idx="502">
                  <c:v>44201</c:v>
                </c:pt>
                <c:pt idx="503">
                  <c:v>44269</c:v>
                </c:pt>
                <c:pt idx="504">
                  <c:v>44317</c:v>
                </c:pt>
                <c:pt idx="505">
                  <c:v>44370</c:v>
                </c:pt>
                <c:pt idx="506">
                  <c:v>44440</c:v>
                </c:pt>
                <c:pt idx="507">
                  <c:v>44524</c:v>
                </c:pt>
                <c:pt idx="508">
                  <c:v>44576</c:v>
                </c:pt>
                <c:pt idx="509">
                  <c:v>44598</c:v>
                </c:pt>
                <c:pt idx="510">
                  <c:v>44737</c:v>
                </c:pt>
                <c:pt idx="511">
                  <c:v>44882</c:v>
                </c:pt>
                <c:pt idx="512">
                  <c:v>45021</c:v>
                </c:pt>
                <c:pt idx="513">
                  <c:v>45105</c:v>
                </c:pt>
                <c:pt idx="514">
                  <c:v>45227</c:v>
                </c:pt>
                <c:pt idx="515">
                  <c:v>45261</c:v>
                </c:pt>
                <c:pt idx="516">
                  <c:v>45298</c:v>
                </c:pt>
                <c:pt idx="517">
                  <c:v>45457</c:v>
                </c:pt>
                <c:pt idx="518">
                  <c:v>45627</c:v>
                </c:pt>
                <c:pt idx="519">
                  <c:v>45743</c:v>
                </c:pt>
                <c:pt idx="520">
                  <c:v>45835</c:v>
                </c:pt>
                <c:pt idx="521">
                  <c:v>45976</c:v>
                </c:pt>
                <c:pt idx="522">
                  <c:v>46028</c:v>
                </c:pt>
                <c:pt idx="523">
                  <c:v>46067</c:v>
                </c:pt>
                <c:pt idx="524">
                  <c:v>46288</c:v>
                </c:pt>
                <c:pt idx="525">
                  <c:v>46431</c:v>
                </c:pt>
                <c:pt idx="526">
                  <c:v>46524</c:v>
                </c:pt>
                <c:pt idx="527">
                  <c:v>46633</c:v>
                </c:pt>
                <c:pt idx="528">
                  <c:v>46750</c:v>
                </c:pt>
                <c:pt idx="529">
                  <c:v>46793</c:v>
                </c:pt>
                <c:pt idx="530">
                  <c:v>46836</c:v>
                </c:pt>
                <c:pt idx="531">
                  <c:v>46987</c:v>
                </c:pt>
                <c:pt idx="532">
                  <c:v>47114</c:v>
                </c:pt>
                <c:pt idx="533">
                  <c:v>47233</c:v>
                </c:pt>
                <c:pt idx="534">
                  <c:v>47355</c:v>
                </c:pt>
                <c:pt idx="535">
                  <c:v>47423</c:v>
                </c:pt>
                <c:pt idx="536">
                  <c:v>47455</c:v>
                </c:pt>
                <c:pt idx="537">
                  <c:v>47479</c:v>
                </c:pt>
                <c:pt idx="538">
                  <c:v>47580</c:v>
                </c:pt>
                <c:pt idx="539">
                  <c:v>47679</c:v>
                </c:pt>
                <c:pt idx="540">
                  <c:v>47759</c:v>
                </c:pt>
                <c:pt idx="541">
                  <c:v>47817</c:v>
                </c:pt>
                <c:pt idx="542">
                  <c:v>47887</c:v>
                </c:pt>
                <c:pt idx="543">
                  <c:v>47910</c:v>
                </c:pt>
                <c:pt idx="544">
                  <c:v>47928</c:v>
                </c:pt>
                <c:pt idx="545">
                  <c:v>48005</c:v>
                </c:pt>
                <c:pt idx="546">
                  <c:v>48075</c:v>
                </c:pt>
                <c:pt idx="547">
                  <c:v>48135</c:v>
                </c:pt>
                <c:pt idx="548">
                  <c:v>48172</c:v>
                </c:pt>
                <c:pt idx="549">
                  <c:v>48196</c:v>
                </c:pt>
                <c:pt idx="550">
                  <c:v>48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52</c:f>
              <c:numCache>
                <c:formatCode>m/d/yyyy</c:formatCode>
                <c:ptCount val="5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</c:numCache>
            </c:numRef>
          </c:cat>
          <c:val>
            <c:numRef>
              <c:f>List1!$B$2:$B$552</c:f>
              <c:numCache>
                <c:formatCode>General</c:formatCode>
                <c:ptCount val="551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1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7</c:v>
                </c:pt>
                <c:pt idx="31">
                  <c:v>122</c:v>
                </c:pt>
                <c:pt idx="32">
                  <c:v>157</c:v>
                </c:pt>
                <c:pt idx="33">
                  <c:v>209</c:v>
                </c:pt>
                <c:pt idx="34">
                  <c:v>366</c:v>
                </c:pt>
                <c:pt idx="35">
                  <c:v>437</c:v>
                </c:pt>
                <c:pt idx="36">
                  <c:v>475</c:v>
                </c:pt>
                <c:pt idx="37">
                  <c:v>544</c:v>
                </c:pt>
                <c:pt idx="38">
                  <c:v>676</c:v>
                </c:pt>
                <c:pt idx="39">
                  <c:v>696</c:v>
                </c:pt>
                <c:pt idx="40">
                  <c:v>665</c:v>
                </c:pt>
                <c:pt idx="41">
                  <c:v>777</c:v>
                </c:pt>
                <c:pt idx="42">
                  <c:v>950</c:v>
                </c:pt>
                <c:pt idx="43">
                  <c:v>1080</c:v>
                </c:pt>
                <c:pt idx="44">
                  <c:v>1258</c:v>
                </c:pt>
                <c:pt idx="45">
                  <c:v>1383</c:v>
                </c:pt>
                <c:pt idx="46">
                  <c:v>1460</c:v>
                </c:pt>
                <c:pt idx="47">
                  <c:v>1412</c:v>
                </c:pt>
                <c:pt idx="48">
                  <c:v>1586</c:v>
                </c:pt>
                <c:pt idx="49">
                  <c:v>1702</c:v>
                </c:pt>
                <c:pt idx="50">
                  <c:v>1981</c:v>
                </c:pt>
                <c:pt idx="51">
                  <c:v>2149</c:v>
                </c:pt>
                <c:pt idx="52">
                  <c:v>2442</c:v>
                </c:pt>
                <c:pt idx="53">
                  <c:v>2523</c:v>
                </c:pt>
                <c:pt idx="54">
                  <c:v>2569</c:v>
                </c:pt>
                <c:pt idx="55">
                  <c:v>2753</c:v>
                </c:pt>
                <c:pt idx="56">
                  <c:v>3097</c:v>
                </c:pt>
                <c:pt idx="57">
                  <c:v>3127</c:v>
                </c:pt>
                <c:pt idx="58">
                  <c:v>3575</c:v>
                </c:pt>
                <c:pt idx="59">
                  <c:v>3870</c:v>
                </c:pt>
                <c:pt idx="60">
                  <c:v>3959</c:v>
                </c:pt>
                <c:pt idx="61">
                  <c:v>3854</c:v>
                </c:pt>
                <c:pt idx="62">
                  <c:v>3920</c:v>
                </c:pt>
                <c:pt idx="63">
                  <c:v>3860</c:v>
                </c:pt>
                <c:pt idx="64">
                  <c:v>4073</c:v>
                </c:pt>
                <c:pt idx="65">
                  <c:v>4409</c:v>
                </c:pt>
                <c:pt idx="66">
                  <c:v>4275</c:v>
                </c:pt>
                <c:pt idx="67">
                  <c:v>3925</c:v>
                </c:pt>
                <c:pt idx="68">
                  <c:v>3845</c:v>
                </c:pt>
                <c:pt idx="69">
                  <c:v>3602</c:v>
                </c:pt>
                <c:pt idx="70">
                  <c:v>3481</c:v>
                </c:pt>
                <c:pt idx="71">
                  <c:v>3906</c:v>
                </c:pt>
                <c:pt idx="72">
                  <c:v>4290</c:v>
                </c:pt>
                <c:pt idx="73">
                  <c:v>4339</c:v>
                </c:pt>
                <c:pt idx="74">
                  <c:v>4000</c:v>
                </c:pt>
                <c:pt idx="75">
                  <c:v>3887</c:v>
                </c:pt>
                <c:pt idx="76">
                  <c:v>3905</c:v>
                </c:pt>
                <c:pt idx="77">
                  <c:v>3685</c:v>
                </c:pt>
                <c:pt idx="78">
                  <c:v>3876</c:v>
                </c:pt>
                <c:pt idx="79">
                  <c:v>4029</c:v>
                </c:pt>
                <c:pt idx="80">
                  <c:v>4088</c:v>
                </c:pt>
                <c:pt idx="81">
                  <c:v>3706</c:v>
                </c:pt>
                <c:pt idx="82">
                  <c:v>3432</c:v>
                </c:pt>
                <c:pt idx="83">
                  <c:v>3561</c:v>
                </c:pt>
                <c:pt idx="84">
                  <c:v>3273</c:v>
                </c:pt>
                <c:pt idx="85">
                  <c:v>3271</c:v>
                </c:pt>
                <c:pt idx="86">
                  <c:v>3366</c:v>
                </c:pt>
                <c:pt idx="87">
                  <c:v>3129</c:v>
                </c:pt>
                <c:pt idx="88">
                  <c:v>3096</c:v>
                </c:pt>
                <c:pt idx="89">
                  <c:v>2840</c:v>
                </c:pt>
                <c:pt idx="90">
                  <c:v>2742</c:v>
                </c:pt>
                <c:pt idx="91">
                  <c:v>2555</c:v>
                </c:pt>
                <c:pt idx="92">
                  <c:v>2589</c:v>
                </c:pt>
                <c:pt idx="93">
                  <c:v>2647</c:v>
                </c:pt>
                <c:pt idx="94">
                  <c:v>2540</c:v>
                </c:pt>
                <c:pt idx="95">
                  <c:v>2369</c:v>
                </c:pt>
                <c:pt idx="96">
                  <c:v>2217</c:v>
                </c:pt>
                <c:pt idx="97">
                  <c:v>2170</c:v>
                </c:pt>
                <c:pt idx="98">
                  <c:v>2026</c:v>
                </c:pt>
                <c:pt idx="99">
                  <c:v>2080</c:v>
                </c:pt>
                <c:pt idx="100">
                  <c:v>2132</c:v>
                </c:pt>
                <c:pt idx="101">
                  <c:v>2128</c:v>
                </c:pt>
                <c:pt idx="102">
                  <c:v>2031</c:v>
                </c:pt>
                <c:pt idx="103">
                  <c:v>1983</c:v>
                </c:pt>
                <c:pt idx="104">
                  <c:v>1994</c:v>
                </c:pt>
                <c:pt idx="105">
                  <c:v>1975</c:v>
                </c:pt>
                <c:pt idx="106">
                  <c:v>1976</c:v>
                </c:pt>
                <c:pt idx="107">
                  <c:v>1982</c:v>
                </c:pt>
                <c:pt idx="108">
                  <c:v>2032</c:v>
                </c:pt>
                <c:pt idx="109">
                  <c:v>1904</c:v>
                </c:pt>
                <c:pt idx="110">
                  <c:v>1839</c:v>
                </c:pt>
                <c:pt idx="111">
                  <c:v>1889</c:v>
                </c:pt>
                <c:pt idx="112">
                  <c:v>1903</c:v>
                </c:pt>
                <c:pt idx="113">
                  <c:v>1927</c:v>
                </c:pt>
                <c:pt idx="114">
                  <c:v>1892</c:v>
                </c:pt>
                <c:pt idx="115">
                  <c:v>1790</c:v>
                </c:pt>
                <c:pt idx="116">
                  <c:v>1766</c:v>
                </c:pt>
                <c:pt idx="117">
                  <c:v>1764</c:v>
                </c:pt>
                <c:pt idx="118">
                  <c:v>1810</c:v>
                </c:pt>
                <c:pt idx="119">
                  <c:v>1858</c:v>
                </c:pt>
                <c:pt idx="120">
                  <c:v>1961</c:v>
                </c:pt>
                <c:pt idx="121">
                  <c:v>2044</c:v>
                </c:pt>
                <c:pt idx="122">
                  <c:v>1911</c:v>
                </c:pt>
                <c:pt idx="123">
                  <c:v>1879</c:v>
                </c:pt>
                <c:pt idx="124">
                  <c:v>1713</c:v>
                </c:pt>
                <c:pt idx="125">
                  <c:v>1945</c:v>
                </c:pt>
                <c:pt idx="126">
                  <c:v>2037</c:v>
                </c:pt>
                <c:pt idx="127">
                  <c:v>2126</c:v>
                </c:pt>
                <c:pt idx="128">
                  <c:v>2271</c:v>
                </c:pt>
                <c:pt idx="129">
                  <c:v>2275</c:v>
                </c:pt>
                <c:pt idx="130">
                  <c:v>2143</c:v>
                </c:pt>
                <c:pt idx="131">
                  <c:v>1999</c:v>
                </c:pt>
                <c:pt idx="132">
                  <c:v>2146</c:v>
                </c:pt>
                <c:pt idx="133">
                  <c:v>2209</c:v>
                </c:pt>
                <c:pt idx="134">
                  <c:v>2311</c:v>
                </c:pt>
                <c:pt idx="135">
                  <c:v>2359</c:v>
                </c:pt>
                <c:pt idx="136">
                  <c:v>2279</c:v>
                </c:pt>
                <c:pt idx="137">
                  <c:v>2083</c:v>
                </c:pt>
                <c:pt idx="138">
                  <c:v>1929</c:v>
                </c:pt>
                <c:pt idx="139">
                  <c:v>1874</c:v>
                </c:pt>
                <c:pt idx="140">
                  <c:v>1762</c:v>
                </c:pt>
                <c:pt idx="141">
                  <c:v>1844</c:v>
                </c:pt>
                <c:pt idx="142">
                  <c:v>1916</c:v>
                </c:pt>
                <c:pt idx="143">
                  <c:v>1789</c:v>
                </c:pt>
                <c:pt idx="144">
                  <c:v>1718</c:v>
                </c:pt>
                <c:pt idx="145">
                  <c:v>1619</c:v>
                </c:pt>
                <c:pt idx="146">
                  <c:v>1581</c:v>
                </c:pt>
                <c:pt idx="147">
                  <c:v>1526</c:v>
                </c:pt>
                <c:pt idx="148">
                  <c:v>1577</c:v>
                </c:pt>
                <c:pt idx="149">
                  <c:v>1614</c:v>
                </c:pt>
                <c:pt idx="150">
                  <c:v>1473</c:v>
                </c:pt>
                <c:pt idx="151">
                  <c:v>1430</c:v>
                </c:pt>
                <c:pt idx="152">
                  <c:v>1294</c:v>
                </c:pt>
                <c:pt idx="153">
                  <c:v>1323</c:v>
                </c:pt>
                <c:pt idx="154">
                  <c:v>1348</c:v>
                </c:pt>
                <c:pt idx="155">
                  <c:v>1402</c:v>
                </c:pt>
                <c:pt idx="156">
                  <c:v>1433</c:v>
                </c:pt>
                <c:pt idx="157">
                  <c:v>1404</c:v>
                </c:pt>
                <c:pt idx="158">
                  <c:v>1342</c:v>
                </c:pt>
                <c:pt idx="159">
                  <c:v>1287</c:v>
                </c:pt>
                <c:pt idx="160">
                  <c:v>1303</c:v>
                </c:pt>
                <c:pt idx="161">
                  <c:v>1296</c:v>
                </c:pt>
                <c:pt idx="162">
                  <c:v>1336</c:v>
                </c:pt>
                <c:pt idx="163">
                  <c:v>1386</c:v>
                </c:pt>
                <c:pt idx="164">
                  <c:v>1347</c:v>
                </c:pt>
                <c:pt idx="165">
                  <c:v>1227</c:v>
                </c:pt>
                <c:pt idx="166">
                  <c:v>1136</c:v>
                </c:pt>
                <c:pt idx="167">
                  <c:v>1114</c:v>
                </c:pt>
                <c:pt idx="168">
                  <c:v>1031</c:v>
                </c:pt>
                <c:pt idx="169">
                  <c:v>1009</c:v>
                </c:pt>
                <c:pt idx="170">
                  <c:v>1026</c:v>
                </c:pt>
                <c:pt idx="171">
                  <c:v>965</c:v>
                </c:pt>
                <c:pt idx="172">
                  <c:v>904</c:v>
                </c:pt>
                <c:pt idx="173">
                  <c:v>834</c:v>
                </c:pt>
                <c:pt idx="174">
                  <c:v>878</c:v>
                </c:pt>
                <c:pt idx="175">
                  <c:v>852</c:v>
                </c:pt>
                <c:pt idx="176">
                  <c:v>861</c:v>
                </c:pt>
                <c:pt idx="177">
                  <c:v>891</c:v>
                </c:pt>
                <c:pt idx="178">
                  <c:v>882</c:v>
                </c:pt>
                <c:pt idx="179">
                  <c:v>850</c:v>
                </c:pt>
                <c:pt idx="180">
                  <c:v>829</c:v>
                </c:pt>
                <c:pt idx="181">
                  <c:v>878</c:v>
                </c:pt>
                <c:pt idx="182">
                  <c:v>844</c:v>
                </c:pt>
                <c:pt idx="183">
                  <c:v>852</c:v>
                </c:pt>
                <c:pt idx="184">
                  <c:v>846</c:v>
                </c:pt>
                <c:pt idx="185">
                  <c:v>779</c:v>
                </c:pt>
                <c:pt idx="186">
                  <c:v>750</c:v>
                </c:pt>
                <c:pt idx="187">
                  <c:v>707</c:v>
                </c:pt>
                <c:pt idx="188">
                  <c:v>701</c:v>
                </c:pt>
                <c:pt idx="189">
                  <c:v>753</c:v>
                </c:pt>
                <c:pt idx="190">
                  <c:v>799</c:v>
                </c:pt>
                <c:pt idx="191">
                  <c:v>800</c:v>
                </c:pt>
                <c:pt idx="192">
                  <c:v>828</c:v>
                </c:pt>
                <c:pt idx="193">
                  <c:v>825</c:v>
                </c:pt>
                <c:pt idx="194">
                  <c:v>826</c:v>
                </c:pt>
                <c:pt idx="195">
                  <c:v>852</c:v>
                </c:pt>
                <c:pt idx="196">
                  <c:v>787</c:v>
                </c:pt>
                <c:pt idx="197">
                  <c:v>770</c:v>
                </c:pt>
                <c:pt idx="198">
                  <c:v>755</c:v>
                </c:pt>
                <c:pt idx="199">
                  <c:v>754</c:v>
                </c:pt>
                <c:pt idx="200">
                  <c:v>735</c:v>
                </c:pt>
                <c:pt idx="201">
                  <c:v>734</c:v>
                </c:pt>
                <c:pt idx="202">
                  <c:v>738</c:v>
                </c:pt>
                <c:pt idx="203">
                  <c:v>742</c:v>
                </c:pt>
                <c:pt idx="204">
                  <c:v>708</c:v>
                </c:pt>
                <c:pt idx="205">
                  <c:v>703</c:v>
                </c:pt>
                <c:pt idx="206">
                  <c:v>686</c:v>
                </c:pt>
                <c:pt idx="207">
                  <c:v>651</c:v>
                </c:pt>
                <c:pt idx="208">
                  <c:v>650</c:v>
                </c:pt>
                <c:pt idx="209">
                  <c:v>663</c:v>
                </c:pt>
                <c:pt idx="210">
                  <c:v>633</c:v>
                </c:pt>
                <c:pt idx="211">
                  <c:v>626</c:v>
                </c:pt>
                <c:pt idx="212">
                  <c:v>611</c:v>
                </c:pt>
                <c:pt idx="213">
                  <c:v>582</c:v>
                </c:pt>
                <c:pt idx="214">
                  <c:v>572</c:v>
                </c:pt>
                <c:pt idx="215">
                  <c:v>570</c:v>
                </c:pt>
                <c:pt idx="216">
                  <c:v>568</c:v>
                </c:pt>
                <c:pt idx="217">
                  <c:v>538</c:v>
                </c:pt>
                <c:pt idx="218">
                  <c:v>536</c:v>
                </c:pt>
                <c:pt idx="219">
                  <c:v>521</c:v>
                </c:pt>
                <c:pt idx="220">
                  <c:v>489</c:v>
                </c:pt>
                <c:pt idx="221">
                  <c:v>484</c:v>
                </c:pt>
                <c:pt idx="222">
                  <c:v>483</c:v>
                </c:pt>
                <c:pt idx="223">
                  <c:v>483</c:v>
                </c:pt>
                <c:pt idx="224">
                  <c:v>473</c:v>
                </c:pt>
                <c:pt idx="225">
                  <c:v>453</c:v>
                </c:pt>
                <c:pt idx="226">
                  <c:v>441</c:v>
                </c:pt>
                <c:pt idx="227">
                  <c:v>425</c:v>
                </c:pt>
                <c:pt idx="228">
                  <c:v>423</c:v>
                </c:pt>
                <c:pt idx="229">
                  <c:v>425</c:v>
                </c:pt>
                <c:pt idx="230">
                  <c:v>429</c:v>
                </c:pt>
                <c:pt idx="231">
                  <c:v>424</c:v>
                </c:pt>
                <c:pt idx="232">
                  <c:v>416</c:v>
                </c:pt>
                <c:pt idx="233">
                  <c:v>425</c:v>
                </c:pt>
                <c:pt idx="234">
                  <c:v>429</c:v>
                </c:pt>
                <c:pt idx="235">
                  <c:v>420</c:v>
                </c:pt>
                <c:pt idx="236">
                  <c:v>419</c:v>
                </c:pt>
                <c:pt idx="237">
                  <c:v>420</c:v>
                </c:pt>
                <c:pt idx="238">
                  <c:v>419</c:v>
                </c:pt>
                <c:pt idx="239">
                  <c:v>417</c:v>
                </c:pt>
                <c:pt idx="240">
                  <c:v>416</c:v>
                </c:pt>
                <c:pt idx="241">
                  <c:v>416</c:v>
                </c:pt>
                <c:pt idx="242">
                  <c:v>410</c:v>
                </c:pt>
                <c:pt idx="243">
                  <c:v>410</c:v>
                </c:pt>
                <c:pt idx="244">
                  <c:v>412</c:v>
                </c:pt>
                <c:pt idx="245">
                  <c:v>407</c:v>
                </c:pt>
                <c:pt idx="246">
                  <c:v>404</c:v>
                </c:pt>
                <c:pt idx="247">
                  <c:v>397</c:v>
                </c:pt>
                <c:pt idx="248">
                  <c:v>396</c:v>
                </c:pt>
                <c:pt idx="249">
                  <c:v>390</c:v>
                </c:pt>
                <c:pt idx="250">
                  <c:v>393</c:v>
                </c:pt>
                <c:pt idx="251">
                  <c:v>397</c:v>
                </c:pt>
                <c:pt idx="252">
                  <c:v>397</c:v>
                </c:pt>
                <c:pt idx="253">
                  <c:v>394</c:v>
                </c:pt>
                <c:pt idx="254">
                  <c:v>394</c:v>
                </c:pt>
                <c:pt idx="255">
                  <c:v>394</c:v>
                </c:pt>
                <c:pt idx="256">
                  <c:v>390</c:v>
                </c:pt>
                <c:pt idx="257">
                  <c:v>389</c:v>
                </c:pt>
                <c:pt idx="258">
                  <c:v>391</c:v>
                </c:pt>
                <c:pt idx="259">
                  <c:v>387</c:v>
                </c:pt>
                <c:pt idx="260">
                  <c:v>389</c:v>
                </c:pt>
                <c:pt idx="261">
                  <c:v>386</c:v>
                </c:pt>
                <c:pt idx="262">
                  <c:v>386</c:v>
                </c:pt>
                <c:pt idx="263">
                  <c:v>385</c:v>
                </c:pt>
                <c:pt idx="264">
                  <c:v>384</c:v>
                </c:pt>
                <c:pt idx="265">
                  <c:v>385</c:v>
                </c:pt>
                <c:pt idx="266">
                  <c:v>384</c:v>
                </c:pt>
                <c:pt idx="267">
                  <c:v>383</c:v>
                </c:pt>
                <c:pt idx="268">
                  <c:v>381</c:v>
                </c:pt>
                <c:pt idx="269">
                  <c:v>380</c:v>
                </c:pt>
                <c:pt idx="270">
                  <c:v>380</c:v>
                </c:pt>
                <c:pt idx="271">
                  <c:v>377</c:v>
                </c:pt>
                <c:pt idx="272">
                  <c:v>377</c:v>
                </c:pt>
                <c:pt idx="273">
                  <c:v>375</c:v>
                </c:pt>
                <c:pt idx="274">
                  <c:v>378</c:v>
                </c:pt>
                <c:pt idx="275">
                  <c:v>374</c:v>
                </c:pt>
                <c:pt idx="276">
                  <c:v>370</c:v>
                </c:pt>
                <c:pt idx="277">
                  <c:v>369</c:v>
                </c:pt>
                <c:pt idx="278">
                  <c:v>369</c:v>
                </c:pt>
                <c:pt idx="279">
                  <c:v>370</c:v>
                </c:pt>
                <c:pt idx="280">
                  <c:v>370</c:v>
                </c:pt>
                <c:pt idx="281">
                  <c:v>369</c:v>
                </c:pt>
                <c:pt idx="282">
                  <c:v>368</c:v>
                </c:pt>
                <c:pt idx="283">
                  <c:v>369</c:v>
                </c:pt>
                <c:pt idx="284">
                  <c:v>366</c:v>
                </c:pt>
                <c:pt idx="285">
                  <c:v>366</c:v>
                </c:pt>
                <c:pt idx="286">
                  <c:v>366</c:v>
                </c:pt>
                <c:pt idx="287">
                  <c:v>366</c:v>
                </c:pt>
                <c:pt idx="288">
                  <c:v>366</c:v>
                </c:pt>
                <c:pt idx="289">
                  <c:v>366</c:v>
                </c:pt>
                <c:pt idx="290">
                  <c:v>366</c:v>
                </c:pt>
                <c:pt idx="291">
                  <c:v>366</c:v>
                </c:pt>
                <c:pt idx="292">
                  <c:v>366</c:v>
                </c:pt>
                <c:pt idx="293">
                  <c:v>366</c:v>
                </c:pt>
                <c:pt idx="294">
                  <c:v>366</c:v>
                </c:pt>
                <c:pt idx="295">
                  <c:v>367</c:v>
                </c:pt>
                <c:pt idx="296">
                  <c:v>367</c:v>
                </c:pt>
                <c:pt idx="297">
                  <c:v>366</c:v>
                </c:pt>
                <c:pt idx="298">
                  <c:v>366</c:v>
                </c:pt>
                <c:pt idx="299">
                  <c:v>366</c:v>
                </c:pt>
                <c:pt idx="300">
                  <c:v>366</c:v>
                </c:pt>
                <c:pt idx="301">
                  <c:v>366</c:v>
                </c:pt>
                <c:pt idx="302">
                  <c:v>365</c:v>
                </c:pt>
                <c:pt idx="303">
                  <c:v>366</c:v>
                </c:pt>
                <c:pt idx="304">
                  <c:v>364</c:v>
                </c:pt>
                <c:pt idx="305">
                  <c:v>364</c:v>
                </c:pt>
                <c:pt idx="306">
                  <c:v>365</c:v>
                </c:pt>
                <c:pt idx="307">
                  <c:v>365</c:v>
                </c:pt>
                <c:pt idx="308">
                  <c:v>365</c:v>
                </c:pt>
                <c:pt idx="309">
                  <c:v>365</c:v>
                </c:pt>
                <c:pt idx="310">
                  <c:v>364</c:v>
                </c:pt>
                <c:pt idx="311">
                  <c:v>364</c:v>
                </c:pt>
                <c:pt idx="312">
                  <c:v>364</c:v>
                </c:pt>
                <c:pt idx="313">
                  <c:v>364</c:v>
                </c:pt>
                <c:pt idx="314">
                  <c:v>364</c:v>
                </c:pt>
                <c:pt idx="315">
                  <c:v>364</c:v>
                </c:pt>
                <c:pt idx="316">
                  <c:v>364</c:v>
                </c:pt>
                <c:pt idx="317">
                  <c:v>364</c:v>
                </c:pt>
                <c:pt idx="318">
                  <c:v>364</c:v>
                </c:pt>
                <c:pt idx="319">
                  <c:v>364</c:v>
                </c:pt>
                <c:pt idx="320">
                  <c:v>364</c:v>
                </c:pt>
                <c:pt idx="321">
                  <c:v>364</c:v>
                </c:pt>
                <c:pt idx="322">
                  <c:v>363</c:v>
                </c:pt>
                <c:pt idx="323">
                  <c:v>363</c:v>
                </c:pt>
                <c:pt idx="324">
                  <c:v>363</c:v>
                </c:pt>
                <c:pt idx="325">
                  <c:v>363</c:v>
                </c:pt>
                <c:pt idx="326">
                  <c:v>364</c:v>
                </c:pt>
                <c:pt idx="327">
                  <c:v>363</c:v>
                </c:pt>
                <c:pt idx="328">
                  <c:v>363</c:v>
                </c:pt>
                <c:pt idx="329">
                  <c:v>363</c:v>
                </c:pt>
                <c:pt idx="330">
                  <c:v>363</c:v>
                </c:pt>
                <c:pt idx="331">
                  <c:v>363</c:v>
                </c:pt>
                <c:pt idx="332">
                  <c:v>362</c:v>
                </c:pt>
                <c:pt idx="333">
                  <c:v>362</c:v>
                </c:pt>
                <c:pt idx="334">
                  <c:v>362</c:v>
                </c:pt>
                <c:pt idx="335">
                  <c:v>362</c:v>
                </c:pt>
                <c:pt idx="336">
                  <c:v>361</c:v>
                </c:pt>
                <c:pt idx="337">
                  <c:v>361</c:v>
                </c:pt>
                <c:pt idx="338">
                  <c:v>361</c:v>
                </c:pt>
                <c:pt idx="339">
                  <c:v>361</c:v>
                </c:pt>
                <c:pt idx="340">
                  <c:v>361</c:v>
                </c:pt>
                <c:pt idx="341">
                  <c:v>361</c:v>
                </c:pt>
                <c:pt idx="342">
                  <c:v>361</c:v>
                </c:pt>
                <c:pt idx="343">
                  <c:v>361</c:v>
                </c:pt>
                <c:pt idx="344">
                  <c:v>361</c:v>
                </c:pt>
                <c:pt idx="345">
                  <c:v>361</c:v>
                </c:pt>
                <c:pt idx="346">
                  <c:v>361</c:v>
                </c:pt>
                <c:pt idx="347">
                  <c:v>361</c:v>
                </c:pt>
                <c:pt idx="348">
                  <c:v>361</c:v>
                </c:pt>
                <c:pt idx="349">
                  <c:v>362</c:v>
                </c:pt>
                <c:pt idx="350">
                  <c:v>363</c:v>
                </c:pt>
                <c:pt idx="351">
                  <c:v>363</c:v>
                </c:pt>
                <c:pt idx="352">
                  <c:v>364</c:v>
                </c:pt>
                <c:pt idx="353">
                  <c:v>363</c:v>
                </c:pt>
                <c:pt idx="354">
                  <c:v>363</c:v>
                </c:pt>
                <c:pt idx="355">
                  <c:v>363</c:v>
                </c:pt>
                <c:pt idx="356">
                  <c:v>365</c:v>
                </c:pt>
                <c:pt idx="357">
                  <c:v>365</c:v>
                </c:pt>
                <c:pt idx="358">
                  <c:v>365</c:v>
                </c:pt>
                <c:pt idx="359">
                  <c:v>365</c:v>
                </c:pt>
                <c:pt idx="360">
                  <c:v>365</c:v>
                </c:pt>
                <c:pt idx="361">
                  <c:v>364</c:v>
                </c:pt>
                <c:pt idx="362">
                  <c:v>364</c:v>
                </c:pt>
                <c:pt idx="363">
                  <c:v>364</c:v>
                </c:pt>
                <c:pt idx="364">
                  <c:v>364</c:v>
                </c:pt>
                <c:pt idx="365">
                  <c:v>365</c:v>
                </c:pt>
                <c:pt idx="366">
                  <c:v>369</c:v>
                </c:pt>
                <c:pt idx="367">
                  <c:v>371</c:v>
                </c:pt>
                <c:pt idx="368">
                  <c:v>372</c:v>
                </c:pt>
                <c:pt idx="369">
                  <c:v>371</c:v>
                </c:pt>
                <c:pt idx="370">
                  <c:v>375</c:v>
                </c:pt>
                <c:pt idx="371">
                  <c:v>372</c:v>
                </c:pt>
                <c:pt idx="372">
                  <c:v>372</c:v>
                </c:pt>
                <c:pt idx="373">
                  <c:v>372</c:v>
                </c:pt>
                <c:pt idx="374">
                  <c:v>372</c:v>
                </c:pt>
                <c:pt idx="375">
                  <c:v>372</c:v>
                </c:pt>
                <c:pt idx="376">
                  <c:v>372</c:v>
                </c:pt>
                <c:pt idx="377">
                  <c:v>373</c:v>
                </c:pt>
                <c:pt idx="378">
                  <c:v>373</c:v>
                </c:pt>
                <c:pt idx="379">
                  <c:v>373</c:v>
                </c:pt>
                <c:pt idx="380">
                  <c:v>372</c:v>
                </c:pt>
                <c:pt idx="381">
                  <c:v>370</c:v>
                </c:pt>
                <c:pt idx="382">
                  <c:v>370</c:v>
                </c:pt>
                <c:pt idx="383">
                  <c:v>370</c:v>
                </c:pt>
                <c:pt idx="384">
                  <c:v>371</c:v>
                </c:pt>
                <c:pt idx="385">
                  <c:v>368</c:v>
                </c:pt>
                <c:pt idx="386">
                  <c:v>368</c:v>
                </c:pt>
                <c:pt idx="387">
                  <c:v>366</c:v>
                </c:pt>
                <c:pt idx="388">
                  <c:v>366</c:v>
                </c:pt>
                <c:pt idx="389">
                  <c:v>366</c:v>
                </c:pt>
                <c:pt idx="390">
                  <c:v>366</c:v>
                </c:pt>
                <c:pt idx="391">
                  <c:v>368</c:v>
                </c:pt>
                <c:pt idx="392">
                  <c:v>366</c:v>
                </c:pt>
                <c:pt idx="393">
                  <c:v>367</c:v>
                </c:pt>
                <c:pt idx="394">
                  <c:v>367</c:v>
                </c:pt>
                <c:pt idx="395">
                  <c:v>368</c:v>
                </c:pt>
                <c:pt idx="396">
                  <c:v>369</c:v>
                </c:pt>
                <c:pt idx="397">
                  <c:v>370</c:v>
                </c:pt>
                <c:pt idx="398">
                  <c:v>372</c:v>
                </c:pt>
                <c:pt idx="399">
                  <c:v>374</c:v>
                </c:pt>
                <c:pt idx="400">
                  <c:v>382</c:v>
                </c:pt>
                <c:pt idx="401">
                  <c:v>381</c:v>
                </c:pt>
                <c:pt idx="402">
                  <c:v>406</c:v>
                </c:pt>
                <c:pt idx="403">
                  <c:v>406</c:v>
                </c:pt>
                <c:pt idx="404">
                  <c:v>406</c:v>
                </c:pt>
                <c:pt idx="405">
                  <c:v>407</c:v>
                </c:pt>
                <c:pt idx="406">
                  <c:v>408</c:v>
                </c:pt>
                <c:pt idx="407">
                  <c:v>426</c:v>
                </c:pt>
                <c:pt idx="408">
                  <c:v>428</c:v>
                </c:pt>
                <c:pt idx="409">
                  <c:v>428</c:v>
                </c:pt>
                <c:pt idx="410">
                  <c:v>428</c:v>
                </c:pt>
                <c:pt idx="411">
                  <c:v>427</c:v>
                </c:pt>
                <c:pt idx="412">
                  <c:v>431</c:v>
                </c:pt>
                <c:pt idx="413">
                  <c:v>432</c:v>
                </c:pt>
                <c:pt idx="414">
                  <c:v>426</c:v>
                </c:pt>
                <c:pt idx="415">
                  <c:v>426</c:v>
                </c:pt>
                <c:pt idx="416">
                  <c:v>409</c:v>
                </c:pt>
                <c:pt idx="417">
                  <c:v>408</c:v>
                </c:pt>
                <c:pt idx="418">
                  <c:v>406</c:v>
                </c:pt>
                <c:pt idx="419">
                  <c:v>419</c:v>
                </c:pt>
                <c:pt idx="420">
                  <c:v>427</c:v>
                </c:pt>
                <c:pt idx="421">
                  <c:v>435</c:v>
                </c:pt>
                <c:pt idx="422">
                  <c:v>419</c:v>
                </c:pt>
                <c:pt idx="423">
                  <c:v>437</c:v>
                </c:pt>
                <c:pt idx="424">
                  <c:v>440</c:v>
                </c:pt>
                <c:pt idx="425">
                  <c:v>449</c:v>
                </c:pt>
                <c:pt idx="426">
                  <c:v>484</c:v>
                </c:pt>
                <c:pt idx="427">
                  <c:v>496</c:v>
                </c:pt>
                <c:pt idx="428">
                  <c:v>500</c:v>
                </c:pt>
                <c:pt idx="429">
                  <c:v>548</c:v>
                </c:pt>
                <c:pt idx="430">
                  <c:v>567</c:v>
                </c:pt>
                <c:pt idx="431">
                  <c:v>561</c:v>
                </c:pt>
                <c:pt idx="432">
                  <c:v>560</c:v>
                </c:pt>
                <c:pt idx="433">
                  <c:v>585</c:v>
                </c:pt>
                <c:pt idx="434">
                  <c:v>600</c:v>
                </c:pt>
                <c:pt idx="435">
                  <c:v>607</c:v>
                </c:pt>
                <c:pt idx="436">
                  <c:v>616</c:v>
                </c:pt>
                <c:pt idx="437">
                  <c:v>627</c:v>
                </c:pt>
                <c:pt idx="438">
                  <c:v>624</c:v>
                </c:pt>
                <c:pt idx="439">
                  <c:v>630</c:v>
                </c:pt>
                <c:pt idx="440">
                  <c:v>659</c:v>
                </c:pt>
                <c:pt idx="441">
                  <c:v>661</c:v>
                </c:pt>
                <c:pt idx="442">
                  <c:v>665</c:v>
                </c:pt>
                <c:pt idx="443">
                  <c:v>695</c:v>
                </c:pt>
                <c:pt idx="444">
                  <c:v>750</c:v>
                </c:pt>
                <c:pt idx="445">
                  <c:v>753</c:v>
                </c:pt>
                <c:pt idx="446">
                  <c:v>750</c:v>
                </c:pt>
                <c:pt idx="447">
                  <c:v>792</c:v>
                </c:pt>
                <c:pt idx="448">
                  <c:v>778</c:v>
                </c:pt>
                <c:pt idx="449">
                  <c:v>786</c:v>
                </c:pt>
                <c:pt idx="450">
                  <c:v>785</c:v>
                </c:pt>
                <c:pt idx="451">
                  <c:v>818</c:v>
                </c:pt>
                <c:pt idx="452">
                  <c:v>803</c:v>
                </c:pt>
                <c:pt idx="453">
                  <c:v>804</c:v>
                </c:pt>
                <c:pt idx="454">
                  <c:v>836</c:v>
                </c:pt>
                <c:pt idx="455">
                  <c:v>816</c:v>
                </c:pt>
                <c:pt idx="456">
                  <c:v>790</c:v>
                </c:pt>
                <c:pt idx="457">
                  <c:v>792</c:v>
                </c:pt>
                <c:pt idx="458">
                  <c:v>687</c:v>
                </c:pt>
                <c:pt idx="459">
                  <c:v>707</c:v>
                </c:pt>
                <c:pt idx="460">
                  <c:v>687</c:v>
                </c:pt>
                <c:pt idx="461">
                  <c:v>707</c:v>
                </c:pt>
                <c:pt idx="462">
                  <c:v>682</c:v>
                </c:pt>
                <c:pt idx="463">
                  <c:v>673</c:v>
                </c:pt>
                <c:pt idx="464">
                  <c:v>662</c:v>
                </c:pt>
                <c:pt idx="465">
                  <c:v>620</c:v>
                </c:pt>
                <c:pt idx="466">
                  <c:v>605</c:v>
                </c:pt>
                <c:pt idx="467">
                  <c:v>603</c:v>
                </c:pt>
                <c:pt idx="468">
                  <c:v>611</c:v>
                </c:pt>
                <c:pt idx="469">
                  <c:v>598</c:v>
                </c:pt>
                <c:pt idx="470">
                  <c:v>591</c:v>
                </c:pt>
                <c:pt idx="471">
                  <c:v>566</c:v>
                </c:pt>
                <c:pt idx="472">
                  <c:v>549</c:v>
                </c:pt>
                <c:pt idx="473">
                  <c:v>501</c:v>
                </c:pt>
                <c:pt idx="474">
                  <c:v>502</c:v>
                </c:pt>
                <c:pt idx="475">
                  <c:v>514</c:v>
                </c:pt>
                <c:pt idx="476">
                  <c:v>488</c:v>
                </c:pt>
                <c:pt idx="477">
                  <c:v>469</c:v>
                </c:pt>
                <c:pt idx="478">
                  <c:v>438</c:v>
                </c:pt>
                <c:pt idx="479">
                  <c:v>416</c:v>
                </c:pt>
                <c:pt idx="480">
                  <c:v>405</c:v>
                </c:pt>
                <c:pt idx="481">
                  <c:v>400</c:v>
                </c:pt>
                <c:pt idx="482">
                  <c:v>409</c:v>
                </c:pt>
                <c:pt idx="483">
                  <c:v>383</c:v>
                </c:pt>
                <c:pt idx="484">
                  <c:v>378</c:v>
                </c:pt>
                <c:pt idx="485">
                  <c:v>363</c:v>
                </c:pt>
                <c:pt idx="486">
                  <c:v>356</c:v>
                </c:pt>
                <c:pt idx="487">
                  <c:v>347</c:v>
                </c:pt>
                <c:pt idx="488">
                  <c:v>343</c:v>
                </c:pt>
                <c:pt idx="489">
                  <c:v>345</c:v>
                </c:pt>
                <c:pt idx="490">
                  <c:v>333</c:v>
                </c:pt>
                <c:pt idx="491">
                  <c:v>331</c:v>
                </c:pt>
                <c:pt idx="492">
                  <c:v>330</c:v>
                </c:pt>
                <c:pt idx="493">
                  <c:v>327</c:v>
                </c:pt>
                <c:pt idx="494">
                  <c:v>325</c:v>
                </c:pt>
                <c:pt idx="495">
                  <c:v>324</c:v>
                </c:pt>
                <c:pt idx="496">
                  <c:v>323</c:v>
                </c:pt>
                <c:pt idx="497">
                  <c:v>315</c:v>
                </c:pt>
                <c:pt idx="498">
                  <c:v>316</c:v>
                </c:pt>
                <c:pt idx="499">
                  <c:v>313</c:v>
                </c:pt>
                <c:pt idx="500">
                  <c:v>315</c:v>
                </c:pt>
                <c:pt idx="501">
                  <c:v>312</c:v>
                </c:pt>
                <c:pt idx="502">
                  <c:v>315</c:v>
                </c:pt>
                <c:pt idx="503">
                  <c:v>335</c:v>
                </c:pt>
                <c:pt idx="504">
                  <c:v>344</c:v>
                </c:pt>
                <c:pt idx="505">
                  <c:v>343</c:v>
                </c:pt>
                <c:pt idx="506">
                  <c:v>360</c:v>
                </c:pt>
                <c:pt idx="507">
                  <c:v>364</c:v>
                </c:pt>
                <c:pt idx="508">
                  <c:v>384</c:v>
                </c:pt>
                <c:pt idx="509">
                  <c:v>388</c:v>
                </c:pt>
                <c:pt idx="510">
                  <c:v>424</c:v>
                </c:pt>
                <c:pt idx="511">
                  <c:v>460</c:v>
                </c:pt>
                <c:pt idx="512">
                  <c:v>496</c:v>
                </c:pt>
                <c:pt idx="513">
                  <c:v>517</c:v>
                </c:pt>
                <c:pt idx="514">
                  <c:v>555</c:v>
                </c:pt>
                <c:pt idx="515">
                  <c:v>551</c:v>
                </c:pt>
                <c:pt idx="516">
                  <c:v>547</c:v>
                </c:pt>
                <c:pt idx="517">
                  <c:v>571</c:v>
                </c:pt>
                <c:pt idx="518">
                  <c:v>590</c:v>
                </c:pt>
                <c:pt idx="519">
                  <c:v>613</c:v>
                </c:pt>
                <c:pt idx="520">
                  <c:v>625</c:v>
                </c:pt>
                <c:pt idx="521">
                  <c:v>645</c:v>
                </c:pt>
                <c:pt idx="522">
                  <c:v>607</c:v>
                </c:pt>
                <c:pt idx="523">
                  <c:v>582</c:v>
                </c:pt>
                <c:pt idx="524">
                  <c:v>615</c:v>
                </c:pt>
                <c:pt idx="525">
                  <c:v>613</c:v>
                </c:pt>
                <c:pt idx="526">
                  <c:v>631</c:v>
                </c:pt>
                <c:pt idx="527">
                  <c:v>664</c:v>
                </c:pt>
                <c:pt idx="528">
                  <c:v>681</c:v>
                </c:pt>
                <c:pt idx="529">
                  <c:v>630</c:v>
                </c:pt>
                <c:pt idx="530">
                  <c:v>608</c:v>
                </c:pt>
                <c:pt idx="531">
                  <c:v>630</c:v>
                </c:pt>
                <c:pt idx="532">
                  <c:v>619</c:v>
                </c:pt>
                <c:pt idx="533">
                  <c:v>656</c:v>
                </c:pt>
                <c:pt idx="534">
                  <c:v>714</c:v>
                </c:pt>
                <c:pt idx="535">
                  <c:v>663</c:v>
                </c:pt>
                <c:pt idx="536">
                  <c:v>598</c:v>
                </c:pt>
                <c:pt idx="537">
                  <c:v>585</c:v>
                </c:pt>
                <c:pt idx="538">
                  <c:v>554</c:v>
                </c:pt>
                <c:pt idx="539">
                  <c:v>522</c:v>
                </c:pt>
                <c:pt idx="540">
                  <c:v>545</c:v>
                </c:pt>
                <c:pt idx="541">
                  <c:v>557</c:v>
                </c:pt>
                <c:pt idx="542">
                  <c:v>512</c:v>
                </c:pt>
                <c:pt idx="543">
                  <c:v>464</c:v>
                </c:pt>
                <c:pt idx="544">
                  <c:v>370</c:v>
                </c:pt>
                <c:pt idx="545">
                  <c:v>337</c:v>
                </c:pt>
                <c:pt idx="546">
                  <c:v>330</c:v>
                </c:pt>
                <c:pt idx="547">
                  <c:v>351</c:v>
                </c:pt>
                <c:pt idx="548">
                  <c:v>352</c:v>
                </c:pt>
                <c:pt idx="549">
                  <c:v>306</c:v>
                </c:pt>
                <c:pt idx="550">
                  <c:v>2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52</c:f>
              <c:numCache>
                <c:formatCode>m/d/yyyy</c:formatCode>
                <c:ptCount val="5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</c:numCache>
            </c:numRef>
          </c:cat>
          <c:val>
            <c:numRef>
              <c:f>List1!$C$2:$C$552</c:f>
              <c:numCache>
                <c:formatCode>General</c:formatCode>
                <c:ptCount val="551"/>
                <c:pt idx="0">
                  <c:v>3</c:v>
                </c:pt>
                <c:pt idx="1">
                  <c:v>1</c:v>
                </c:pt>
                <c:pt idx="2">
                  <c:v>1</c:v>
                </c:pt>
                <c:pt idx="3">
                  <c:v>5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3</c:v>
                </c:pt>
                <c:pt idx="13">
                  <c:v>7</c:v>
                </c:pt>
                <c:pt idx="14">
                  <c:v>6</c:v>
                </c:pt>
                <c:pt idx="15">
                  <c:v>8</c:v>
                </c:pt>
                <c:pt idx="16">
                  <c:v>9</c:v>
                </c:pt>
                <c:pt idx="17">
                  <c:v>9</c:v>
                </c:pt>
                <c:pt idx="18">
                  <c:v>10</c:v>
                </c:pt>
                <c:pt idx="19">
                  <c:v>12</c:v>
                </c:pt>
                <c:pt idx="20">
                  <c:v>13</c:v>
                </c:pt>
                <c:pt idx="21">
                  <c:v>17</c:v>
                </c:pt>
                <c:pt idx="22">
                  <c:v>14</c:v>
                </c:pt>
                <c:pt idx="23">
                  <c:v>18</c:v>
                </c:pt>
                <c:pt idx="24">
                  <c:v>29</c:v>
                </c:pt>
                <c:pt idx="25">
                  <c:v>33</c:v>
                </c:pt>
                <c:pt idx="26">
                  <c:v>34</c:v>
                </c:pt>
                <c:pt idx="27">
                  <c:v>39</c:v>
                </c:pt>
                <c:pt idx="28">
                  <c:v>59</c:v>
                </c:pt>
                <c:pt idx="29">
                  <c:v>61</c:v>
                </c:pt>
                <c:pt idx="30">
                  <c:v>89</c:v>
                </c:pt>
                <c:pt idx="31">
                  <c:v>180</c:v>
                </c:pt>
                <c:pt idx="32">
                  <c:v>203</c:v>
                </c:pt>
                <c:pt idx="33">
                  <c:v>218</c:v>
                </c:pt>
                <c:pt idx="34">
                  <c:v>309</c:v>
                </c:pt>
                <c:pt idx="35">
                  <c:v>348</c:v>
                </c:pt>
                <c:pt idx="36">
                  <c:v>374</c:v>
                </c:pt>
                <c:pt idx="37">
                  <c:v>456</c:v>
                </c:pt>
                <c:pt idx="38">
                  <c:v>542</c:v>
                </c:pt>
                <c:pt idx="39">
                  <c:v>579</c:v>
                </c:pt>
                <c:pt idx="40">
                  <c:v>594</c:v>
                </c:pt>
                <c:pt idx="41">
                  <c:v>737</c:v>
                </c:pt>
                <c:pt idx="42">
                  <c:v>863</c:v>
                </c:pt>
                <c:pt idx="43">
                  <c:v>1036</c:v>
                </c:pt>
                <c:pt idx="44">
                  <c:v>1217</c:v>
                </c:pt>
                <c:pt idx="45">
                  <c:v>1387</c:v>
                </c:pt>
                <c:pt idx="46">
                  <c:v>1456</c:v>
                </c:pt>
                <c:pt idx="47">
                  <c:v>1451</c:v>
                </c:pt>
                <c:pt idx="48">
                  <c:v>1596</c:v>
                </c:pt>
                <c:pt idx="49">
                  <c:v>1743</c:v>
                </c:pt>
                <c:pt idx="50">
                  <c:v>1975</c:v>
                </c:pt>
                <c:pt idx="51">
                  <c:v>2137</c:v>
                </c:pt>
                <c:pt idx="52">
                  <c:v>2407</c:v>
                </c:pt>
                <c:pt idx="53">
                  <c:v>2479</c:v>
                </c:pt>
                <c:pt idx="54">
                  <c:v>2444</c:v>
                </c:pt>
                <c:pt idx="55">
                  <c:v>2613</c:v>
                </c:pt>
                <c:pt idx="56">
                  <c:v>2806</c:v>
                </c:pt>
                <c:pt idx="57">
                  <c:v>2821</c:v>
                </c:pt>
                <c:pt idx="58">
                  <c:v>3231</c:v>
                </c:pt>
                <c:pt idx="59">
                  <c:v>3378</c:v>
                </c:pt>
                <c:pt idx="60">
                  <c:v>3292</c:v>
                </c:pt>
                <c:pt idx="61">
                  <c:v>3133</c:v>
                </c:pt>
                <c:pt idx="62">
                  <c:v>3164</c:v>
                </c:pt>
                <c:pt idx="63">
                  <c:v>3099</c:v>
                </c:pt>
                <c:pt idx="64">
                  <c:v>3298</c:v>
                </c:pt>
                <c:pt idx="65">
                  <c:v>3481</c:v>
                </c:pt>
                <c:pt idx="66">
                  <c:v>3299</c:v>
                </c:pt>
                <c:pt idx="67">
                  <c:v>3049</c:v>
                </c:pt>
                <c:pt idx="68">
                  <c:v>2950</c:v>
                </c:pt>
                <c:pt idx="69">
                  <c:v>2805</c:v>
                </c:pt>
                <c:pt idx="70">
                  <c:v>2666</c:v>
                </c:pt>
                <c:pt idx="71">
                  <c:v>2796</c:v>
                </c:pt>
                <c:pt idx="72">
                  <c:v>2931</c:v>
                </c:pt>
                <c:pt idx="73">
                  <c:v>2836</c:v>
                </c:pt>
                <c:pt idx="74">
                  <c:v>2635</c:v>
                </c:pt>
                <c:pt idx="75">
                  <c:v>2395</c:v>
                </c:pt>
                <c:pt idx="76">
                  <c:v>2368</c:v>
                </c:pt>
                <c:pt idx="77">
                  <c:v>2212</c:v>
                </c:pt>
                <c:pt idx="78">
                  <c:v>2317</c:v>
                </c:pt>
                <c:pt idx="79">
                  <c:v>2399</c:v>
                </c:pt>
                <c:pt idx="80">
                  <c:v>2350</c:v>
                </c:pt>
                <c:pt idx="81">
                  <c:v>2095</c:v>
                </c:pt>
                <c:pt idx="82">
                  <c:v>1911</c:v>
                </c:pt>
                <c:pt idx="83">
                  <c:v>1898</c:v>
                </c:pt>
                <c:pt idx="84">
                  <c:v>1841</c:v>
                </c:pt>
                <c:pt idx="85">
                  <c:v>1867</c:v>
                </c:pt>
                <c:pt idx="86">
                  <c:v>1892</c:v>
                </c:pt>
                <c:pt idx="87">
                  <c:v>1850</c:v>
                </c:pt>
                <c:pt idx="88">
                  <c:v>1809</c:v>
                </c:pt>
                <c:pt idx="89">
                  <c:v>1664</c:v>
                </c:pt>
                <c:pt idx="90">
                  <c:v>1647</c:v>
                </c:pt>
                <c:pt idx="91">
                  <c:v>1643</c:v>
                </c:pt>
                <c:pt idx="92">
                  <c:v>1696</c:v>
                </c:pt>
                <c:pt idx="93">
                  <c:v>1738</c:v>
                </c:pt>
                <c:pt idx="94">
                  <c:v>1674</c:v>
                </c:pt>
                <c:pt idx="95">
                  <c:v>1612</c:v>
                </c:pt>
                <c:pt idx="96">
                  <c:v>1541</c:v>
                </c:pt>
                <c:pt idx="97">
                  <c:v>1601</c:v>
                </c:pt>
                <c:pt idx="98">
                  <c:v>1592</c:v>
                </c:pt>
                <c:pt idx="99">
                  <c:v>1633</c:v>
                </c:pt>
                <c:pt idx="100">
                  <c:v>1683</c:v>
                </c:pt>
                <c:pt idx="101">
                  <c:v>1663</c:v>
                </c:pt>
                <c:pt idx="102">
                  <c:v>1591</c:v>
                </c:pt>
                <c:pt idx="103">
                  <c:v>1552</c:v>
                </c:pt>
                <c:pt idx="104">
                  <c:v>1598</c:v>
                </c:pt>
                <c:pt idx="105">
                  <c:v>1602</c:v>
                </c:pt>
                <c:pt idx="106">
                  <c:v>1673</c:v>
                </c:pt>
                <c:pt idx="107">
                  <c:v>1710</c:v>
                </c:pt>
                <c:pt idx="108">
                  <c:v>1666</c:v>
                </c:pt>
                <c:pt idx="109">
                  <c:v>1615</c:v>
                </c:pt>
                <c:pt idx="110">
                  <c:v>1566</c:v>
                </c:pt>
                <c:pt idx="111">
                  <c:v>1673</c:v>
                </c:pt>
                <c:pt idx="112">
                  <c:v>1723</c:v>
                </c:pt>
                <c:pt idx="113">
                  <c:v>1819</c:v>
                </c:pt>
                <c:pt idx="114">
                  <c:v>1838</c:v>
                </c:pt>
                <c:pt idx="115">
                  <c:v>1790</c:v>
                </c:pt>
                <c:pt idx="116">
                  <c:v>1749</c:v>
                </c:pt>
                <c:pt idx="117">
                  <c:v>1719</c:v>
                </c:pt>
                <c:pt idx="118">
                  <c:v>1837</c:v>
                </c:pt>
                <c:pt idx="119">
                  <c:v>1926</c:v>
                </c:pt>
                <c:pt idx="120">
                  <c:v>2004</c:v>
                </c:pt>
                <c:pt idx="121">
                  <c:v>2078</c:v>
                </c:pt>
                <c:pt idx="122">
                  <c:v>1986</c:v>
                </c:pt>
                <c:pt idx="123">
                  <c:v>1920</c:v>
                </c:pt>
                <c:pt idx="124">
                  <c:v>1854</c:v>
                </c:pt>
                <c:pt idx="125">
                  <c:v>2141</c:v>
                </c:pt>
                <c:pt idx="126">
                  <c:v>2267</c:v>
                </c:pt>
                <c:pt idx="127">
                  <c:v>2352</c:v>
                </c:pt>
                <c:pt idx="128">
                  <c:v>2421</c:v>
                </c:pt>
                <c:pt idx="129">
                  <c:v>2332</c:v>
                </c:pt>
                <c:pt idx="130">
                  <c:v>2224</c:v>
                </c:pt>
                <c:pt idx="131">
                  <c:v>2100</c:v>
                </c:pt>
                <c:pt idx="132">
                  <c:v>2261</c:v>
                </c:pt>
                <c:pt idx="133">
                  <c:v>2348</c:v>
                </c:pt>
                <c:pt idx="134">
                  <c:v>2424</c:v>
                </c:pt>
                <c:pt idx="135">
                  <c:v>2430</c:v>
                </c:pt>
                <c:pt idx="136">
                  <c:v>2289</c:v>
                </c:pt>
                <c:pt idx="137">
                  <c:v>2147</c:v>
                </c:pt>
                <c:pt idx="138">
                  <c:v>2038</c:v>
                </c:pt>
                <c:pt idx="139">
                  <c:v>2041</c:v>
                </c:pt>
                <c:pt idx="140">
                  <c:v>1990</c:v>
                </c:pt>
                <c:pt idx="141">
                  <c:v>2023</c:v>
                </c:pt>
                <c:pt idx="142">
                  <c:v>2061</c:v>
                </c:pt>
                <c:pt idx="143">
                  <c:v>1969</c:v>
                </c:pt>
                <c:pt idx="144">
                  <c:v>1893</c:v>
                </c:pt>
                <c:pt idx="145">
                  <c:v>1784</c:v>
                </c:pt>
                <c:pt idx="146">
                  <c:v>1797</c:v>
                </c:pt>
                <c:pt idx="147">
                  <c:v>1804</c:v>
                </c:pt>
                <c:pt idx="148">
                  <c:v>1831</c:v>
                </c:pt>
                <c:pt idx="149">
                  <c:v>1845</c:v>
                </c:pt>
                <c:pt idx="150">
                  <c:v>1766</c:v>
                </c:pt>
                <c:pt idx="151">
                  <c:v>1698</c:v>
                </c:pt>
                <c:pt idx="152">
                  <c:v>1626</c:v>
                </c:pt>
                <c:pt idx="153">
                  <c:v>1648</c:v>
                </c:pt>
                <c:pt idx="154">
                  <c:v>1646</c:v>
                </c:pt>
                <c:pt idx="155">
                  <c:v>1685</c:v>
                </c:pt>
                <c:pt idx="156">
                  <c:v>1711</c:v>
                </c:pt>
                <c:pt idx="157">
                  <c:v>1658</c:v>
                </c:pt>
                <c:pt idx="158">
                  <c:v>1589</c:v>
                </c:pt>
                <c:pt idx="159">
                  <c:v>1545</c:v>
                </c:pt>
                <c:pt idx="160">
                  <c:v>1573</c:v>
                </c:pt>
                <c:pt idx="161">
                  <c:v>1541</c:v>
                </c:pt>
                <c:pt idx="162">
                  <c:v>1558</c:v>
                </c:pt>
                <c:pt idx="163">
                  <c:v>1586</c:v>
                </c:pt>
                <c:pt idx="164">
                  <c:v>1547</c:v>
                </c:pt>
                <c:pt idx="165">
                  <c:v>1486</c:v>
                </c:pt>
                <c:pt idx="166">
                  <c:v>1443</c:v>
                </c:pt>
                <c:pt idx="167">
                  <c:v>1464</c:v>
                </c:pt>
                <c:pt idx="168">
                  <c:v>1455</c:v>
                </c:pt>
                <c:pt idx="169">
                  <c:v>1474</c:v>
                </c:pt>
                <c:pt idx="170">
                  <c:v>1495</c:v>
                </c:pt>
                <c:pt idx="171">
                  <c:v>1471</c:v>
                </c:pt>
                <c:pt idx="172">
                  <c:v>1432</c:v>
                </c:pt>
                <c:pt idx="173">
                  <c:v>1409</c:v>
                </c:pt>
                <c:pt idx="174">
                  <c:v>1445</c:v>
                </c:pt>
                <c:pt idx="175">
                  <c:v>1461</c:v>
                </c:pt>
                <c:pt idx="176">
                  <c:v>1480</c:v>
                </c:pt>
                <c:pt idx="177">
                  <c:v>1508</c:v>
                </c:pt>
                <c:pt idx="178">
                  <c:v>1494</c:v>
                </c:pt>
                <c:pt idx="179">
                  <c:v>1445</c:v>
                </c:pt>
                <c:pt idx="180">
                  <c:v>1409</c:v>
                </c:pt>
                <c:pt idx="181">
                  <c:v>1440</c:v>
                </c:pt>
                <c:pt idx="182">
                  <c:v>1434</c:v>
                </c:pt>
                <c:pt idx="183">
                  <c:v>1476</c:v>
                </c:pt>
                <c:pt idx="184">
                  <c:v>1511</c:v>
                </c:pt>
                <c:pt idx="185">
                  <c:v>1462</c:v>
                </c:pt>
                <c:pt idx="186">
                  <c:v>1411</c:v>
                </c:pt>
                <c:pt idx="187">
                  <c:v>1383</c:v>
                </c:pt>
                <c:pt idx="188">
                  <c:v>1404</c:v>
                </c:pt>
                <c:pt idx="189">
                  <c:v>1392</c:v>
                </c:pt>
                <c:pt idx="190">
                  <c:v>1413</c:v>
                </c:pt>
                <c:pt idx="191">
                  <c:v>1432</c:v>
                </c:pt>
                <c:pt idx="192">
                  <c:v>1449</c:v>
                </c:pt>
                <c:pt idx="193">
                  <c:v>1460</c:v>
                </c:pt>
                <c:pt idx="194">
                  <c:v>1466</c:v>
                </c:pt>
                <c:pt idx="195">
                  <c:v>1507</c:v>
                </c:pt>
                <c:pt idx="196">
                  <c:v>1471</c:v>
                </c:pt>
                <c:pt idx="197">
                  <c:v>1449</c:v>
                </c:pt>
                <c:pt idx="198">
                  <c:v>1408</c:v>
                </c:pt>
                <c:pt idx="199">
                  <c:v>1392</c:v>
                </c:pt>
                <c:pt idx="200">
                  <c:v>1356</c:v>
                </c:pt>
                <c:pt idx="201">
                  <c:v>1351</c:v>
                </c:pt>
                <c:pt idx="202">
                  <c:v>1382</c:v>
                </c:pt>
                <c:pt idx="203">
                  <c:v>1335</c:v>
                </c:pt>
                <c:pt idx="204">
                  <c:v>1310</c:v>
                </c:pt>
                <c:pt idx="205">
                  <c:v>1283</c:v>
                </c:pt>
                <c:pt idx="206">
                  <c:v>1273</c:v>
                </c:pt>
                <c:pt idx="207">
                  <c:v>1248</c:v>
                </c:pt>
                <c:pt idx="208">
                  <c:v>1240</c:v>
                </c:pt>
                <c:pt idx="209">
                  <c:v>1253</c:v>
                </c:pt>
                <c:pt idx="210">
                  <c:v>1243</c:v>
                </c:pt>
                <c:pt idx="211">
                  <c:v>1211</c:v>
                </c:pt>
                <c:pt idx="212">
                  <c:v>1202</c:v>
                </c:pt>
                <c:pt idx="213">
                  <c:v>1179</c:v>
                </c:pt>
                <c:pt idx="214">
                  <c:v>1163</c:v>
                </c:pt>
                <c:pt idx="215">
                  <c:v>1161</c:v>
                </c:pt>
                <c:pt idx="216">
                  <c:v>1167</c:v>
                </c:pt>
                <c:pt idx="217">
                  <c:v>1151</c:v>
                </c:pt>
                <c:pt idx="218">
                  <c:v>1145</c:v>
                </c:pt>
                <c:pt idx="219">
                  <c:v>1143</c:v>
                </c:pt>
                <c:pt idx="220">
                  <c:v>1136</c:v>
                </c:pt>
                <c:pt idx="221">
                  <c:v>1123</c:v>
                </c:pt>
                <c:pt idx="222">
                  <c:v>1119</c:v>
                </c:pt>
                <c:pt idx="223">
                  <c:v>1125</c:v>
                </c:pt>
                <c:pt idx="224">
                  <c:v>1102</c:v>
                </c:pt>
                <c:pt idx="225">
                  <c:v>1095</c:v>
                </c:pt>
                <c:pt idx="226">
                  <c:v>1090</c:v>
                </c:pt>
                <c:pt idx="227">
                  <c:v>1087</c:v>
                </c:pt>
                <c:pt idx="228">
                  <c:v>1086</c:v>
                </c:pt>
                <c:pt idx="229">
                  <c:v>1083</c:v>
                </c:pt>
                <c:pt idx="230">
                  <c:v>1094</c:v>
                </c:pt>
                <c:pt idx="231">
                  <c:v>1091</c:v>
                </c:pt>
                <c:pt idx="232">
                  <c:v>1068</c:v>
                </c:pt>
                <c:pt idx="233">
                  <c:v>1050</c:v>
                </c:pt>
                <c:pt idx="234">
                  <c:v>1042</c:v>
                </c:pt>
                <c:pt idx="235">
                  <c:v>1035</c:v>
                </c:pt>
                <c:pt idx="236">
                  <c:v>1033</c:v>
                </c:pt>
                <c:pt idx="237">
                  <c:v>1038</c:v>
                </c:pt>
                <c:pt idx="238">
                  <c:v>1036</c:v>
                </c:pt>
                <c:pt idx="239">
                  <c:v>1031</c:v>
                </c:pt>
                <c:pt idx="240">
                  <c:v>1028</c:v>
                </c:pt>
                <c:pt idx="241">
                  <c:v>1025</c:v>
                </c:pt>
                <c:pt idx="242">
                  <c:v>1020</c:v>
                </c:pt>
                <c:pt idx="243">
                  <c:v>1019</c:v>
                </c:pt>
                <c:pt idx="244">
                  <c:v>1023</c:v>
                </c:pt>
                <c:pt idx="245">
                  <c:v>1010</c:v>
                </c:pt>
                <c:pt idx="246">
                  <c:v>1006</c:v>
                </c:pt>
                <c:pt idx="247">
                  <c:v>1007</c:v>
                </c:pt>
                <c:pt idx="248">
                  <c:v>1005</c:v>
                </c:pt>
                <c:pt idx="249">
                  <c:v>1000</c:v>
                </c:pt>
                <c:pt idx="250">
                  <c:v>998</c:v>
                </c:pt>
                <c:pt idx="251">
                  <c:v>1001</c:v>
                </c:pt>
                <c:pt idx="252">
                  <c:v>997</c:v>
                </c:pt>
                <c:pt idx="253">
                  <c:v>993</c:v>
                </c:pt>
                <c:pt idx="254">
                  <c:v>993</c:v>
                </c:pt>
                <c:pt idx="255">
                  <c:v>993</c:v>
                </c:pt>
                <c:pt idx="256">
                  <c:v>990</c:v>
                </c:pt>
                <c:pt idx="257">
                  <c:v>990</c:v>
                </c:pt>
                <c:pt idx="258">
                  <c:v>992</c:v>
                </c:pt>
                <c:pt idx="259">
                  <c:v>994</c:v>
                </c:pt>
                <c:pt idx="260">
                  <c:v>991</c:v>
                </c:pt>
                <c:pt idx="261">
                  <c:v>992</c:v>
                </c:pt>
                <c:pt idx="262">
                  <c:v>992</c:v>
                </c:pt>
                <c:pt idx="263">
                  <c:v>989</c:v>
                </c:pt>
                <c:pt idx="264">
                  <c:v>989</c:v>
                </c:pt>
                <c:pt idx="265">
                  <c:v>991</c:v>
                </c:pt>
                <c:pt idx="266">
                  <c:v>989</c:v>
                </c:pt>
                <c:pt idx="267">
                  <c:v>986</c:v>
                </c:pt>
                <c:pt idx="268">
                  <c:v>986</c:v>
                </c:pt>
                <c:pt idx="269">
                  <c:v>984</c:v>
                </c:pt>
                <c:pt idx="270">
                  <c:v>982</c:v>
                </c:pt>
                <c:pt idx="271">
                  <c:v>982</c:v>
                </c:pt>
                <c:pt idx="272">
                  <c:v>981</c:v>
                </c:pt>
                <c:pt idx="273">
                  <c:v>978</c:v>
                </c:pt>
                <c:pt idx="274">
                  <c:v>975</c:v>
                </c:pt>
                <c:pt idx="275">
                  <c:v>975</c:v>
                </c:pt>
                <c:pt idx="276">
                  <c:v>974</c:v>
                </c:pt>
                <c:pt idx="277">
                  <c:v>974</c:v>
                </c:pt>
                <c:pt idx="278">
                  <c:v>974</c:v>
                </c:pt>
                <c:pt idx="279">
                  <c:v>973</c:v>
                </c:pt>
                <c:pt idx="280">
                  <c:v>971</c:v>
                </c:pt>
                <c:pt idx="281">
                  <c:v>969</c:v>
                </c:pt>
                <c:pt idx="282">
                  <c:v>969</c:v>
                </c:pt>
                <c:pt idx="283">
                  <c:v>969</c:v>
                </c:pt>
                <c:pt idx="284">
                  <c:v>969</c:v>
                </c:pt>
                <c:pt idx="285">
                  <c:v>969</c:v>
                </c:pt>
                <c:pt idx="286">
                  <c:v>969</c:v>
                </c:pt>
                <c:pt idx="287">
                  <c:v>969</c:v>
                </c:pt>
                <c:pt idx="288">
                  <c:v>969</c:v>
                </c:pt>
                <c:pt idx="289">
                  <c:v>968</c:v>
                </c:pt>
                <c:pt idx="290">
                  <c:v>968</c:v>
                </c:pt>
                <c:pt idx="291">
                  <c:v>968</c:v>
                </c:pt>
                <c:pt idx="292">
                  <c:v>968</c:v>
                </c:pt>
                <c:pt idx="293">
                  <c:v>968</c:v>
                </c:pt>
                <c:pt idx="294">
                  <c:v>968</c:v>
                </c:pt>
                <c:pt idx="295">
                  <c:v>968</c:v>
                </c:pt>
                <c:pt idx="296">
                  <c:v>969</c:v>
                </c:pt>
                <c:pt idx="297">
                  <c:v>968</c:v>
                </c:pt>
                <c:pt idx="298">
                  <c:v>968</c:v>
                </c:pt>
                <c:pt idx="299">
                  <c:v>968</c:v>
                </c:pt>
                <c:pt idx="300">
                  <c:v>969</c:v>
                </c:pt>
                <c:pt idx="301">
                  <c:v>969</c:v>
                </c:pt>
                <c:pt idx="302">
                  <c:v>970</c:v>
                </c:pt>
                <c:pt idx="303">
                  <c:v>970</c:v>
                </c:pt>
                <c:pt idx="304">
                  <c:v>970</c:v>
                </c:pt>
                <c:pt idx="305">
                  <c:v>970</c:v>
                </c:pt>
                <c:pt idx="306">
                  <c:v>970</c:v>
                </c:pt>
                <c:pt idx="307">
                  <c:v>970</c:v>
                </c:pt>
                <c:pt idx="308">
                  <c:v>970</c:v>
                </c:pt>
                <c:pt idx="309">
                  <c:v>971</c:v>
                </c:pt>
                <c:pt idx="310">
                  <c:v>972</c:v>
                </c:pt>
                <c:pt idx="311">
                  <c:v>972</c:v>
                </c:pt>
                <c:pt idx="312">
                  <c:v>972</c:v>
                </c:pt>
                <c:pt idx="313">
                  <c:v>973</c:v>
                </c:pt>
                <c:pt idx="314">
                  <c:v>973</c:v>
                </c:pt>
                <c:pt idx="315">
                  <c:v>973</c:v>
                </c:pt>
                <c:pt idx="316">
                  <c:v>973</c:v>
                </c:pt>
                <c:pt idx="317">
                  <c:v>973</c:v>
                </c:pt>
                <c:pt idx="318">
                  <c:v>972</c:v>
                </c:pt>
                <c:pt idx="319">
                  <c:v>972</c:v>
                </c:pt>
                <c:pt idx="320">
                  <c:v>972</c:v>
                </c:pt>
                <c:pt idx="321">
                  <c:v>972</c:v>
                </c:pt>
                <c:pt idx="322">
                  <c:v>972</c:v>
                </c:pt>
                <c:pt idx="323">
                  <c:v>973</c:v>
                </c:pt>
                <c:pt idx="324">
                  <c:v>972</c:v>
                </c:pt>
                <c:pt idx="325">
                  <c:v>972</c:v>
                </c:pt>
                <c:pt idx="326">
                  <c:v>971</c:v>
                </c:pt>
                <c:pt idx="327">
                  <c:v>971</c:v>
                </c:pt>
                <c:pt idx="328">
                  <c:v>970</c:v>
                </c:pt>
                <c:pt idx="329">
                  <c:v>971</c:v>
                </c:pt>
                <c:pt idx="330">
                  <c:v>972</c:v>
                </c:pt>
                <c:pt idx="331">
                  <c:v>972</c:v>
                </c:pt>
                <c:pt idx="332">
                  <c:v>972</c:v>
                </c:pt>
                <c:pt idx="333">
                  <c:v>972</c:v>
                </c:pt>
                <c:pt idx="334">
                  <c:v>972</c:v>
                </c:pt>
                <c:pt idx="335">
                  <c:v>972</c:v>
                </c:pt>
                <c:pt idx="336">
                  <c:v>972</c:v>
                </c:pt>
                <c:pt idx="337">
                  <c:v>972</c:v>
                </c:pt>
                <c:pt idx="338">
                  <c:v>971</c:v>
                </c:pt>
                <c:pt idx="339">
                  <c:v>971</c:v>
                </c:pt>
                <c:pt idx="340">
                  <c:v>971</c:v>
                </c:pt>
                <c:pt idx="341">
                  <c:v>972</c:v>
                </c:pt>
                <c:pt idx="342">
                  <c:v>972</c:v>
                </c:pt>
                <c:pt idx="343">
                  <c:v>971</c:v>
                </c:pt>
                <c:pt idx="344">
                  <c:v>971</c:v>
                </c:pt>
                <c:pt idx="345">
                  <c:v>971</c:v>
                </c:pt>
                <c:pt idx="346">
                  <c:v>971</c:v>
                </c:pt>
                <c:pt idx="347">
                  <c:v>971</c:v>
                </c:pt>
                <c:pt idx="348">
                  <c:v>971</c:v>
                </c:pt>
                <c:pt idx="349">
                  <c:v>971</c:v>
                </c:pt>
                <c:pt idx="350">
                  <c:v>970</c:v>
                </c:pt>
                <c:pt idx="351">
                  <c:v>970</c:v>
                </c:pt>
                <c:pt idx="352">
                  <c:v>970</c:v>
                </c:pt>
                <c:pt idx="353">
                  <c:v>970</c:v>
                </c:pt>
                <c:pt idx="354">
                  <c:v>970</c:v>
                </c:pt>
                <c:pt idx="355">
                  <c:v>970</c:v>
                </c:pt>
                <c:pt idx="356">
                  <c:v>971</c:v>
                </c:pt>
                <c:pt idx="357">
                  <c:v>971</c:v>
                </c:pt>
                <c:pt idx="358">
                  <c:v>971</c:v>
                </c:pt>
                <c:pt idx="359">
                  <c:v>971</c:v>
                </c:pt>
                <c:pt idx="360">
                  <c:v>972</c:v>
                </c:pt>
                <c:pt idx="361">
                  <c:v>972</c:v>
                </c:pt>
                <c:pt idx="362">
                  <c:v>972</c:v>
                </c:pt>
                <c:pt idx="363">
                  <c:v>972</c:v>
                </c:pt>
                <c:pt idx="364">
                  <c:v>972</c:v>
                </c:pt>
                <c:pt idx="365">
                  <c:v>977</c:v>
                </c:pt>
                <c:pt idx="366">
                  <c:v>978</c:v>
                </c:pt>
                <c:pt idx="367">
                  <c:v>979</c:v>
                </c:pt>
                <c:pt idx="368">
                  <c:v>979</c:v>
                </c:pt>
                <c:pt idx="369">
                  <c:v>979</c:v>
                </c:pt>
                <c:pt idx="370">
                  <c:v>980</c:v>
                </c:pt>
                <c:pt idx="371">
                  <c:v>981</c:v>
                </c:pt>
                <c:pt idx="372">
                  <c:v>982</c:v>
                </c:pt>
                <c:pt idx="373">
                  <c:v>983</c:v>
                </c:pt>
                <c:pt idx="374">
                  <c:v>984</c:v>
                </c:pt>
                <c:pt idx="375">
                  <c:v>983</c:v>
                </c:pt>
                <c:pt idx="376">
                  <c:v>982</c:v>
                </c:pt>
                <c:pt idx="377">
                  <c:v>982</c:v>
                </c:pt>
                <c:pt idx="378">
                  <c:v>983</c:v>
                </c:pt>
                <c:pt idx="379">
                  <c:v>982</c:v>
                </c:pt>
                <c:pt idx="380">
                  <c:v>982</c:v>
                </c:pt>
                <c:pt idx="381">
                  <c:v>981</c:v>
                </c:pt>
                <c:pt idx="382">
                  <c:v>979</c:v>
                </c:pt>
                <c:pt idx="383">
                  <c:v>979</c:v>
                </c:pt>
                <c:pt idx="384">
                  <c:v>983</c:v>
                </c:pt>
                <c:pt idx="385">
                  <c:v>986</c:v>
                </c:pt>
                <c:pt idx="386">
                  <c:v>986</c:v>
                </c:pt>
                <c:pt idx="387">
                  <c:v>986</c:v>
                </c:pt>
                <c:pt idx="388">
                  <c:v>986</c:v>
                </c:pt>
                <c:pt idx="389">
                  <c:v>987</c:v>
                </c:pt>
                <c:pt idx="390">
                  <c:v>988</c:v>
                </c:pt>
                <c:pt idx="391">
                  <c:v>992</c:v>
                </c:pt>
                <c:pt idx="392">
                  <c:v>994</c:v>
                </c:pt>
                <c:pt idx="393">
                  <c:v>999</c:v>
                </c:pt>
                <c:pt idx="394">
                  <c:v>1000</c:v>
                </c:pt>
                <c:pt idx="395">
                  <c:v>1002</c:v>
                </c:pt>
                <c:pt idx="396">
                  <c:v>1001</c:v>
                </c:pt>
                <c:pt idx="397">
                  <c:v>1000</c:v>
                </c:pt>
                <c:pt idx="398">
                  <c:v>1003</c:v>
                </c:pt>
                <c:pt idx="399">
                  <c:v>1005</c:v>
                </c:pt>
                <c:pt idx="400">
                  <c:v>1005</c:v>
                </c:pt>
                <c:pt idx="401">
                  <c:v>1006</c:v>
                </c:pt>
                <c:pt idx="402">
                  <c:v>1007</c:v>
                </c:pt>
                <c:pt idx="403">
                  <c:v>1008</c:v>
                </c:pt>
                <c:pt idx="404">
                  <c:v>1006</c:v>
                </c:pt>
                <c:pt idx="405">
                  <c:v>1008</c:v>
                </c:pt>
                <c:pt idx="406">
                  <c:v>1004</c:v>
                </c:pt>
                <c:pt idx="407">
                  <c:v>1004</c:v>
                </c:pt>
                <c:pt idx="408">
                  <c:v>1000</c:v>
                </c:pt>
                <c:pt idx="409">
                  <c:v>1006</c:v>
                </c:pt>
                <c:pt idx="410">
                  <c:v>1005</c:v>
                </c:pt>
                <c:pt idx="411">
                  <c:v>1006</c:v>
                </c:pt>
                <c:pt idx="412">
                  <c:v>1018</c:v>
                </c:pt>
                <c:pt idx="413">
                  <c:v>1022</c:v>
                </c:pt>
                <c:pt idx="414">
                  <c:v>1032</c:v>
                </c:pt>
                <c:pt idx="415">
                  <c:v>1034</c:v>
                </c:pt>
                <c:pt idx="416">
                  <c:v>1041</c:v>
                </c:pt>
                <c:pt idx="417">
                  <c:v>1036</c:v>
                </c:pt>
                <c:pt idx="418">
                  <c:v>1040</c:v>
                </c:pt>
                <c:pt idx="419">
                  <c:v>1059</c:v>
                </c:pt>
                <c:pt idx="420">
                  <c:v>1062</c:v>
                </c:pt>
                <c:pt idx="421">
                  <c:v>1077</c:v>
                </c:pt>
                <c:pt idx="422">
                  <c:v>1078</c:v>
                </c:pt>
                <c:pt idx="423">
                  <c:v>1083</c:v>
                </c:pt>
                <c:pt idx="424">
                  <c:v>1083</c:v>
                </c:pt>
                <c:pt idx="425">
                  <c:v>1084</c:v>
                </c:pt>
                <c:pt idx="426">
                  <c:v>1125</c:v>
                </c:pt>
                <c:pt idx="427">
                  <c:v>1136</c:v>
                </c:pt>
                <c:pt idx="428">
                  <c:v>1150</c:v>
                </c:pt>
                <c:pt idx="429">
                  <c:v>1164</c:v>
                </c:pt>
                <c:pt idx="430">
                  <c:v>1182</c:v>
                </c:pt>
                <c:pt idx="431">
                  <c:v>1189</c:v>
                </c:pt>
                <c:pt idx="432">
                  <c:v>1191</c:v>
                </c:pt>
                <c:pt idx="433">
                  <c:v>1241</c:v>
                </c:pt>
                <c:pt idx="434">
                  <c:v>1257</c:v>
                </c:pt>
                <c:pt idx="435">
                  <c:v>1268</c:v>
                </c:pt>
                <c:pt idx="436">
                  <c:v>1296</c:v>
                </c:pt>
                <c:pt idx="437">
                  <c:v>1325</c:v>
                </c:pt>
                <c:pt idx="438">
                  <c:v>1333</c:v>
                </c:pt>
                <c:pt idx="439">
                  <c:v>1339</c:v>
                </c:pt>
                <c:pt idx="440">
                  <c:v>1389</c:v>
                </c:pt>
                <c:pt idx="441">
                  <c:v>1387</c:v>
                </c:pt>
                <c:pt idx="442">
                  <c:v>1370</c:v>
                </c:pt>
                <c:pt idx="443">
                  <c:v>1388</c:v>
                </c:pt>
                <c:pt idx="444">
                  <c:v>1412</c:v>
                </c:pt>
                <c:pt idx="445">
                  <c:v>1400</c:v>
                </c:pt>
                <c:pt idx="446">
                  <c:v>1396</c:v>
                </c:pt>
                <c:pt idx="447">
                  <c:v>1461</c:v>
                </c:pt>
                <c:pt idx="448">
                  <c:v>1463</c:v>
                </c:pt>
                <c:pt idx="449">
                  <c:v>1475</c:v>
                </c:pt>
                <c:pt idx="450">
                  <c:v>1476</c:v>
                </c:pt>
                <c:pt idx="451">
                  <c:v>1485</c:v>
                </c:pt>
                <c:pt idx="452">
                  <c:v>1473</c:v>
                </c:pt>
                <c:pt idx="453">
                  <c:v>1461</c:v>
                </c:pt>
                <c:pt idx="454">
                  <c:v>1497</c:v>
                </c:pt>
                <c:pt idx="455">
                  <c:v>1478</c:v>
                </c:pt>
                <c:pt idx="456">
                  <c:v>1471</c:v>
                </c:pt>
                <c:pt idx="457">
                  <c:v>1487</c:v>
                </c:pt>
                <c:pt idx="458">
                  <c:v>1450</c:v>
                </c:pt>
                <c:pt idx="459">
                  <c:v>1414</c:v>
                </c:pt>
                <c:pt idx="460">
                  <c:v>1405</c:v>
                </c:pt>
                <c:pt idx="461">
                  <c:v>1441</c:v>
                </c:pt>
                <c:pt idx="462">
                  <c:v>1404</c:v>
                </c:pt>
                <c:pt idx="463">
                  <c:v>1382</c:v>
                </c:pt>
                <c:pt idx="464">
                  <c:v>1343</c:v>
                </c:pt>
                <c:pt idx="465">
                  <c:v>1324</c:v>
                </c:pt>
                <c:pt idx="466">
                  <c:v>1289</c:v>
                </c:pt>
                <c:pt idx="467">
                  <c:v>1284</c:v>
                </c:pt>
                <c:pt idx="468">
                  <c:v>1307</c:v>
                </c:pt>
                <c:pt idx="469">
                  <c:v>1277</c:v>
                </c:pt>
                <c:pt idx="470">
                  <c:v>1246</c:v>
                </c:pt>
                <c:pt idx="471">
                  <c:v>1223</c:v>
                </c:pt>
                <c:pt idx="472">
                  <c:v>1200</c:v>
                </c:pt>
                <c:pt idx="473">
                  <c:v>1154</c:v>
                </c:pt>
                <c:pt idx="474">
                  <c:v>1148</c:v>
                </c:pt>
                <c:pt idx="475">
                  <c:v>1163</c:v>
                </c:pt>
                <c:pt idx="476">
                  <c:v>1116</c:v>
                </c:pt>
                <c:pt idx="477">
                  <c:v>1083</c:v>
                </c:pt>
                <c:pt idx="478">
                  <c:v>1049</c:v>
                </c:pt>
                <c:pt idx="479">
                  <c:v>1035</c:v>
                </c:pt>
                <c:pt idx="480">
                  <c:v>1011</c:v>
                </c:pt>
                <c:pt idx="481">
                  <c:v>1002</c:v>
                </c:pt>
                <c:pt idx="482">
                  <c:v>1001</c:v>
                </c:pt>
                <c:pt idx="483">
                  <c:v>983</c:v>
                </c:pt>
                <c:pt idx="484">
                  <c:v>952</c:v>
                </c:pt>
                <c:pt idx="485">
                  <c:v>940</c:v>
                </c:pt>
                <c:pt idx="486">
                  <c:v>928</c:v>
                </c:pt>
                <c:pt idx="487">
                  <c:v>908</c:v>
                </c:pt>
                <c:pt idx="488">
                  <c:v>901</c:v>
                </c:pt>
                <c:pt idx="489">
                  <c:v>910</c:v>
                </c:pt>
                <c:pt idx="490">
                  <c:v>896</c:v>
                </c:pt>
                <c:pt idx="491">
                  <c:v>888</c:v>
                </c:pt>
                <c:pt idx="492">
                  <c:v>889</c:v>
                </c:pt>
                <c:pt idx="493">
                  <c:v>892</c:v>
                </c:pt>
                <c:pt idx="494">
                  <c:v>889</c:v>
                </c:pt>
                <c:pt idx="495">
                  <c:v>887</c:v>
                </c:pt>
                <c:pt idx="496">
                  <c:v>904</c:v>
                </c:pt>
                <c:pt idx="497">
                  <c:v>892</c:v>
                </c:pt>
                <c:pt idx="498">
                  <c:v>884</c:v>
                </c:pt>
                <c:pt idx="499">
                  <c:v>879</c:v>
                </c:pt>
                <c:pt idx="500">
                  <c:v>879</c:v>
                </c:pt>
                <c:pt idx="501">
                  <c:v>882</c:v>
                </c:pt>
                <c:pt idx="502">
                  <c:v>892</c:v>
                </c:pt>
                <c:pt idx="503">
                  <c:v>934</c:v>
                </c:pt>
                <c:pt idx="504">
                  <c:v>949</c:v>
                </c:pt>
                <c:pt idx="505">
                  <c:v>980</c:v>
                </c:pt>
                <c:pt idx="506">
                  <c:v>1022</c:v>
                </c:pt>
                <c:pt idx="507">
                  <c:v>1079</c:v>
                </c:pt>
                <c:pt idx="508">
                  <c:v>1072</c:v>
                </c:pt>
                <c:pt idx="509">
                  <c:v>1073</c:v>
                </c:pt>
                <c:pt idx="510">
                  <c:v>1139</c:v>
                </c:pt>
                <c:pt idx="511">
                  <c:v>1204</c:v>
                </c:pt>
                <c:pt idx="512">
                  <c:v>1289</c:v>
                </c:pt>
                <c:pt idx="513">
                  <c:v>1339</c:v>
                </c:pt>
                <c:pt idx="514">
                  <c:v>1357</c:v>
                </c:pt>
                <c:pt idx="515">
                  <c:v>1343</c:v>
                </c:pt>
                <c:pt idx="516">
                  <c:v>1323</c:v>
                </c:pt>
                <c:pt idx="517">
                  <c:v>1382</c:v>
                </c:pt>
                <c:pt idx="518">
                  <c:v>1428</c:v>
                </c:pt>
                <c:pt idx="519">
                  <c:v>1493</c:v>
                </c:pt>
                <c:pt idx="520">
                  <c:v>1533</c:v>
                </c:pt>
                <c:pt idx="521">
                  <c:v>1506</c:v>
                </c:pt>
                <c:pt idx="522">
                  <c:v>1404</c:v>
                </c:pt>
                <c:pt idx="523">
                  <c:v>1312</c:v>
                </c:pt>
                <c:pt idx="524">
                  <c:v>1339</c:v>
                </c:pt>
                <c:pt idx="525">
                  <c:v>1330</c:v>
                </c:pt>
                <c:pt idx="526">
                  <c:v>1356</c:v>
                </c:pt>
                <c:pt idx="527">
                  <c:v>1376</c:v>
                </c:pt>
                <c:pt idx="528">
                  <c:v>1268</c:v>
                </c:pt>
                <c:pt idx="529">
                  <c:v>1155</c:v>
                </c:pt>
                <c:pt idx="530">
                  <c:v>1076</c:v>
                </c:pt>
                <c:pt idx="531">
                  <c:v>1075</c:v>
                </c:pt>
                <c:pt idx="532">
                  <c:v>1051</c:v>
                </c:pt>
                <c:pt idx="533">
                  <c:v>1081</c:v>
                </c:pt>
                <c:pt idx="534">
                  <c:v>1078</c:v>
                </c:pt>
                <c:pt idx="535">
                  <c:v>925</c:v>
                </c:pt>
                <c:pt idx="536">
                  <c:v>832</c:v>
                </c:pt>
                <c:pt idx="537">
                  <c:v>742</c:v>
                </c:pt>
                <c:pt idx="538">
                  <c:v>727</c:v>
                </c:pt>
                <c:pt idx="539">
                  <c:v>682</c:v>
                </c:pt>
                <c:pt idx="540">
                  <c:v>684</c:v>
                </c:pt>
                <c:pt idx="541">
                  <c:v>688</c:v>
                </c:pt>
                <c:pt idx="542">
                  <c:v>580</c:v>
                </c:pt>
                <c:pt idx="543">
                  <c:v>502</c:v>
                </c:pt>
                <c:pt idx="544">
                  <c:v>440</c:v>
                </c:pt>
                <c:pt idx="545">
                  <c:v>427</c:v>
                </c:pt>
                <c:pt idx="546">
                  <c:v>402</c:v>
                </c:pt>
                <c:pt idx="547">
                  <c:v>403</c:v>
                </c:pt>
                <c:pt idx="548">
                  <c:v>401</c:v>
                </c:pt>
                <c:pt idx="549">
                  <c:v>317</c:v>
                </c:pt>
                <c:pt idx="550">
                  <c:v>2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52</c:f>
              <c:numCache>
                <c:formatCode>m/d/yyyy</c:formatCode>
                <c:ptCount val="5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</c:numCache>
            </c:numRef>
          </c:cat>
          <c:val>
            <c:numRef>
              <c:f>List1!$D$2:$D$552</c:f>
              <c:numCache>
                <c:formatCode>General</c:formatCode>
                <c:ptCount val="551"/>
                <c:pt idx="0">
                  <c:v>9</c:v>
                </c:pt>
                <c:pt idx="1">
                  <c:v>7</c:v>
                </c:pt>
                <c:pt idx="2">
                  <c:v>7</c:v>
                </c:pt>
                <c:pt idx="3">
                  <c:v>11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9</c:v>
                </c:pt>
                <c:pt idx="8">
                  <c:v>11</c:v>
                </c:pt>
                <c:pt idx="9">
                  <c:v>10</c:v>
                </c:pt>
                <c:pt idx="10">
                  <c:v>10</c:v>
                </c:pt>
                <c:pt idx="11">
                  <c:v>14</c:v>
                </c:pt>
                <c:pt idx="12">
                  <c:v>4</c:v>
                </c:pt>
                <c:pt idx="13">
                  <c:v>8</c:v>
                </c:pt>
                <c:pt idx="14">
                  <c:v>6</c:v>
                </c:pt>
                <c:pt idx="15">
                  <c:v>8</c:v>
                </c:pt>
                <c:pt idx="16">
                  <c:v>9</c:v>
                </c:pt>
                <c:pt idx="17">
                  <c:v>11</c:v>
                </c:pt>
                <c:pt idx="18">
                  <c:v>11</c:v>
                </c:pt>
                <c:pt idx="19">
                  <c:v>16</c:v>
                </c:pt>
                <c:pt idx="20">
                  <c:v>14</c:v>
                </c:pt>
                <c:pt idx="21">
                  <c:v>18</c:v>
                </c:pt>
                <c:pt idx="22">
                  <c:v>15</c:v>
                </c:pt>
                <c:pt idx="23">
                  <c:v>22</c:v>
                </c:pt>
                <c:pt idx="24">
                  <c:v>31</c:v>
                </c:pt>
                <c:pt idx="25">
                  <c:v>40</c:v>
                </c:pt>
                <c:pt idx="26">
                  <c:v>41</c:v>
                </c:pt>
                <c:pt idx="27">
                  <c:v>46</c:v>
                </c:pt>
                <c:pt idx="28">
                  <c:v>70</c:v>
                </c:pt>
                <c:pt idx="29">
                  <c:v>99</c:v>
                </c:pt>
                <c:pt idx="30">
                  <c:v>156</c:v>
                </c:pt>
                <c:pt idx="31">
                  <c:v>302</c:v>
                </c:pt>
                <c:pt idx="32">
                  <c:v>360</c:v>
                </c:pt>
                <c:pt idx="33">
                  <c:v>427</c:v>
                </c:pt>
                <c:pt idx="34">
                  <c:v>675</c:v>
                </c:pt>
                <c:pt idx="35">
                  <c:v>785</c:v>
                </c:pt>
                <c:pt idx="36">
                  <c:v>849</c:v>
                </c:pt>
                <c:pt idx="37">
                  <c:v>1000</c:v>
                </c:pt>
                <c:pt idx="38">
                  <c:v>1218</c:v>
                </c:pt>
                <c:pt idx="39">
                  <c:v>1275</c:v>
                </c:pt>
                <c:pt idx="40">
                  <c:v>1259</c:v>
                </c:pt>
                <c:pt idx="41">
                  <c:v>1514</c:v>
                </c:pt>
                <c:pt idx="42">
                  <c:v>1813</c:v>
                </c:pt>
                <c:pt idx="43">
                  <c:v>2116</c:v>
                </c:pt>
                <c:pt idx="44">
                  <c:v>2475</c:v>
                </c:pt>
                <c:pt idx="45">
                  <c:v>2770</c:v>
                </c:pt>
                <c:pt idx="46">
                  <c:v>2916</c:v>
                </c:pt>
                <c:pt idx="47">
                  <c:v>2863</c:v>
                </c:pt>
                <c:pt idx="48">
                  <c:v>3182</c:v>
                </c:pt>
                <c:pt idx="49">
                  <c:v>3445</c:v>
                </c:pt>
                <c:pt idx="50">
                  <c:v>3956</c:v>
                </c:pt>
                <c:pt idx="51">
                  <c:v>4286</c:v>
                </c:pt>
                <c:pt idx="52">
                  <c:v>4849</c:v>
                </c:pt>
                <c:pt idx="53">
                  <c:v>5002</c:v>
                </c:pt>
                <c:pt idx="54">
                  <c:v>5013</c:v>
                </c:pt>
                <c:pt idx="55">
                  <c:v>5366</c:v>
                </c:pt>
                <c:pt idx="56">
                  <c:v>5903</c:v>
                </c:pt>
                <c:pt idx="57">
                  <c:v>5948</c:v>
                </c:pt>
                <c:pt idx="58">
                  <c:v>6806</c:v>
                </c:pt>
                <c:pt idx="59">
                  <c:v>7248</c:v>
                </c:pt>
                <c:pt idx="60">
                  <c:v>7251</c:v>
                </c:pt>
                <c:pt idx="61">
                  <c:v>6987</c:v>
                </c:pt>
                <c:pt idx="62">
                  <c:v>7084</c:v>
                </c:pt>
                <c:pt idx="63">
                  <c:v>6959</c:v>
                </c:pt>
                <c:pt idx="64">
                  <c:v>7371</c:v>
                </c:pt>
                <c:pt idx="65">
                  <c:v>7890</c:v>
                </c:pt>
                <c:pt idx="66">
                  <c:v>7574</c:v>
                </c:pt>
                <c:pt idx="67">
                  <c:v>6974</c:v>
                </c:pt>
                <c:pt idx="68">
                  <c:v>6795</c:v>
                </c:pt>
                <c:pt idx="69">
                  <c:v>6407</c:v>
                </c:pt>
                <c:pt idx="70">
                  <c:v>6147</c:v>
                </c:pt>
                <c:pt idx="71">
                  <c:v>6702</c:v>
                </c:pt>
                <c:pt idx="72">
                  <c:v>7221</c:v>
                </c:pt>
                <c:pt idx="73">
                  <c:v>7175</c:v>
                </c:pt>
                <c:pt idx="74">
                  <c:v>6635</c:v>
                </c:pt>
                <c:pt idx="75">
                  <c:v>6282</c:v>
                </c:pt>
                <c:pt idx="76">
                  <c:v>6273</c:v>
                </c:pt>
                <c:pt idx="77">
                  <c:v>5897</c:v>
                </c:pt>
                <c:pt idx="78">
                  <c:v>6193</c:v>
                </c:pt>
                <c:pt idx="79">
                  <c:v>6428</c:v>
                </c:pt>
                <c:pt idx="80">
                  <c:v>6438</c:v>
                </c:pt>
                <c:pt idx="81">
                  <c:v>5801</c:v>
                </c:pt>
                <c:pt idx="82">
                  <c:v>5343</c:v>
                </c:pt>
                <c:pt idx="83">
                  <c:v>5459</c:v>
                </c:pt>
                <c:pt idx="84">
                  <c:v>5114</c:v>
                </c:pt>
                <c:pt idx="85">
                  <c:v>5138</c:v>
                </c:pt>
                <c:pt idx="86">
                  <c:v>5258</c:v>
                </c:pt>
                <c:pt idx="87">
                  <c:v>4979</c:v>
                </c:pt>
                <c:pt idx="88">
                  <c:v>4905</c:v>
                </c:pt>
                <c:pt idx="89">
                  <c:v>4504</c:v>
                </c:pt>
                <c:pt idx="90">
                  <c:v>4389</c:v>
                </c:pt>
                <c:pt idx="91">
                  <c:v>4198</c:v>
                </c:pt>
                <c:pt idx="92">
                  <c:v>4285</c:v>
                </c:pt>
                <c:pt idx="93">
                  <c:v>4385</c:v>
                </c:pt>
                <c:pt idx="94">
                  <c:v>4214</c:v>
                </c:pt>
                <c:pt idx="95">
                  <c:v>3981</c:v>
                </c:pt>
                <c:pt idx="96">
                  <c:v>3758</c:v>
                </c:pt>
                <c:pt idx="97">
                  <c:v>3771</c:v>
                </c:pt>
                <c:pt idx="98">
                  <c:v>3618</c:v>
                </c:pt>
                <c:pt idx="99">
                  <c:v>3713</c:v>
                </c:pt>
                <c:pt idx="100">
                  <c:v>3815</c:v>
                </c:pt>
                <c:pt idx="101">
                  <c:v>3791</c:v>
                </c:pt>
                <c:pt idx="102">
                  <c:v>3622</c:v>
                </c:pt>
                <c:pt idx="103">
                  <c:v>3535</c:v>
                </c:pt>
                <c:pt idx="104">
                  <c:v>3592</c:v>
                </c:pt>
                <c:pt idx="105">
                  <c:v>3577</c:v>
                </c:pt>
                <c:pt idx="106">
                  <c:v>3649</c:v>
                </c:pt>
                <c:pt idx="107">
                  <c:v>3692</c:v>
                </c:pt>
                <c:pt idx="108">
                  <c:v>3698</c:v>
                </c:pt>
                <c:pt idx="109">
                  <c:v>3519</c:v>
                </c:pt>
                <c:pt idx="110">
                  <c:v>3405</c:v>
                </c:pt>
                <c:pt idx="111">
                  <c:v>3562</c:v>
                </c:pt>
                <c:pt idx="112">
                  <c:v>3626</c:v>
                </c:pt>
                <c:pt idx="113">
                  <c:v>3746</c:v>
                </c:pt>
                <c:pt idx="114">
                  <c:v>3730</c:v>
                </c:pt>
                <c:pt idx="115">
                  <c:v>3580</c:v>
                </c:pt>
                <c:pt idx="116">
                  <c:v>3515</c:v>
                </c:pt>
                <c:pt idx="117">
                  <c:v>3483</c:v>
                </c:pt>
                <c:pt idx="118">
                  <c:v>3647</c:v>
                </c:pt>
                <c:pt idx="119">
                  <c:v>3784</c:v>
                </c:pt>
                <c:pt idx="120">
                  <c:v>3965</c:v>
                </c:pt>
                <c:pt idx="121">
                  <c:v>4122</c:v>
                </c:pt>
                <c:pt idx="122">
                  <c:v>3897</c:v>
                </c:pt>
                <c:pt idx="123">
                  <c:v>3799</c:v>
                </c:pt>
                <c:pt idx="124">
                  <c:v>3567</c:v>
                </c:pt>
                <c:pt idx="125">
                  <c:v>4086</c:v>
                </c:pt>
                <c:pt idx="126">
                  <c:v>4304</c:v>
                </c:pt>
                <c:pt idx="127">
                  <c:v>4478</c:v>
                </c:pt>
                <c:pt idx="128">
                  <c:v>4692</c:v>
                </c:pt>
                <c:pt idx="129">
                  <c:v>4607</c:v>
                </c:pt>
                <c:pt idx="130">
                  <c:v>4367</c:v>
                </c:pt>
                <c:pt idx="131">
                  <c:v>4099</c:v>
                </c:pt>
                <c:pt idx="132">
                  <c:v>4407</c:v>
                </c:pt>
                <c:pt idx="133">
                  <c:v>4557</c:v>
                </c:pt>
                <c:pt idx="134">
                  <c:v>4735</c:v>
                </c:pt>
                <c:pt idx="135">
                  <c:v>4789</c:v>
                </c:pt>
                <c:pt idx="136">
                  <c:v>4568</c:v>
                </c:pt>
                <c:pt idx="137">
                  <c:v>4230</c:v>
                </c:pt>
                <c:pt idx="138">
                  <c:v>3967</c:v>
                </c:pt>
                <c:pt idx="139">
                  <c:v>3915</c:v>
                </c:pt>
                <c:pt idx="140">
                  <c:v>3752</c:v>
                </c:pt>
                <c:pt idx="141">
                  <c:v>3867</c:v>
                </c:pt>
                <c:pt idx="142">
                  <c:v>3977</c:v>
                </c:pt>
                <c:pt idx="143">
                  <c:v>3758</c:v>
                </c:pt>
                <c:pt idx="144">
                  <c:v>3611</c:v>
                </c:pt>
                <c:pt idx="145">
                  <c:v>3403</c:v>
                </c:pt>
                <c:pt idx="146">
                  <c:v>3378</c:v>
                </c:pt>
                <c:pt idx="147">
                  <c:v>3330</c:v>
                </c:pt>
                <c:pt idx="148">
                  <c:v>3408</c:v>
                </c:pt>
                <c:pt idx="149">
                  <c:v>3459</c:v>
                </c:pt>
                <c:pt idx="150">
                  <c:v>3239</c:v>
                </c:pt>
                <c:pt idx="151">
                  <c:v>3128</c:v>
                </c:pt>
                <c:pt idx="152">
                  <c:v>2920</c:v>
                </c:pt>
                <c:pt idx="153">
                  <c:v>2971</c:v>
                </c:pt>
                <c:pt idx="154">
                  <c:v>2994</c:v>
                </c:pt>
                <c:pt idx="155">
                  <c:v>3087</c:v>
                </c:pt>
                <c:pt idx="156">
                  <c:v>3144</c:v>
                </c:pt>
                <c:pt idx="157">
                  <c:v>3062</c:v>
                </c:pt>
                <c:pt idx="158">
                  <c:v>2931</c:v>
                </c:pt>
                <c:pt idx="159">
                  <c:v>2832</c:v>
                </c:pt>
                <c:pt idx="160">
                  <c:v>2876</c:v>
                </c:pt>
                <c:pt idx="161">
                  <c:v>2837</c:v>
                </c:pt>
                <c:pt idx="162">
                  <c:v>2894</c:v>
                </c:pt>
                <c:pt idx="163">
                  <c:v>2972</c:v>
                </c:pt>
                <c:pt idx="164">
                  <c:v>2894</c:v>
                </c:pt>
                <c:pt idx="165">
                  <c:v>2713</c:v>
                </c:pt>
                <c:pt idx="166">
                  <c:v>2579</c:v>
                </c:pt>
                <c:pt idx="167">
                  <c:v>2578</c:v>
                </c:pt>
                <c:pt idx="168">
                  <c:v>2486</c:v>
                </c:pt>
                <c:pt idx="169">
                  <c:v>2483</c:v>
                </c:pt>
                <c:pt idx="170">
                  <c:v>2521</c:v>
                </c:pt>
                <c:pt idx="171">
                  <c:v>2436</c:v>
                </c:pt>
                <c:pt idx="172">
                  <c:v>2336</c:v>
                </c:pt>
                <c:pt idx="173">
                  <c:v>2243</c:v>
                </c:pt>
                <c:pt idx="174">
                  <c:v>2323</c:v>
                </c:pt>
                <c:pt idx="175">
                  <c:v>2313</c:v>
                </c:pt>
                <c:pt idx="176">
                  <c:v>2341</c:v>
                </c:pt>
                <c:pt idx="177">
                  <c:v>2399</c:v>
                </c:pt>
                <c:pt idx="178">
                  <c:v>2376</c:v>
                </c:pt>
                <c:pt idx="179">
                  <c:v>2295</c:v>
                </c:pt>
                <c:pt idx="180">
                  <c:v>2238</c:v>
                </c:pt>
                <c:pt idx="181">
                  <c:v>2318</c:v>
                </c:pt>
                <c:pt idx="182">
                  <c:v>2278</c:v>
                </c:pt>
                <c:pt idx="183">
                  <c:v>2328</c:v>
                </c:pt>
                <c:pt idx="184">
                  <c:v>2357</c:v>
                </c:pt>
                <c:pt idx="185">
                  <c:v>2241</c:v>
                </c:pt>
                <c:pt idx="186">
                  <c:v>2161</c:v>
                </c:pt>
                <c:pt idx="187">
                  <c:v>2090</c:v>
                </c:pt>
                <c:pt idx="188">
                  <c:v>2105</c:v>
                </c:pt>
                <c:pt idx="189">
                  <c:v>2145</c:v>
                </c:pt>
                <c:pt idx="190">
                  <c:v>2212</c:v>
                </c:pt>
                <c:pt idx="191">
                  <c:v>2232</c:v>
                </c:pt>
                <c:pt idx="192">
                  <c:v>2277</c:v>
                </c:pt>
                <c:pt idx="193">
                  <c:v>2285</c:v>
                </c:pt>
                <c:pt idx="194">
                  <c:v>2292</c:v>
                </c:pt>
                <c:pt idx="195">
                  <c:v>2359</c:v>
                </c:pt>
                <c:pt idx="196">
                  <c:v>2258</c:v>
                </c:pt>
                <c:pt idx="197">
                  <c:v>2219</c:v>
                </c:pt>
                <c:pt idx="198">
                  <c:v>2163</c:v>
                </c:pt>
                <c:pt idx="199">
                  <c:v>2146</c:v>
                </c:pt>
                <c:pt idx="200">
                  <c:v>2091</c:v>
                </c:pt>
                <c:pt idx="201">
                  <c:v>2085</c:v>
                </c:pt>
                <c:pt idx="202">
                  <c:v>2120</c:v>
                </c:pt>
                <c:pt idx="203">
                  <c:v>2077</c:v>
                </c:pt>
                <c:pt idx="204">
                  <c:v>2018</c:v>
                </c:pt>
                <c:pt idx="205">
                  <c:v>1986</c:v>
                </c:pt>
                <c:pt idx="206">
                  <c:v>1959</c:v>
                </c:pt>
                <c:pt idx="207">
                  <c:v>1899</c:v>
                </c:pt>
                <c:pt idx="208">
                  <c:v>1890</c:v>
                </c:pt>
                <c:pt idx="209">
                  <c:v>1916</c:v>
                </c:pt>
                <c:pt idx="210">
                  <c:v>1876</c:v>
                </c:pt>
                <c:pt idx="211">
                  <c:v>1837</c:v>
                </c:pt>
                <c:pt idx="212">
                  <c:v>1813</c:v>
                </c:pt>
                <c:pt idx="213">
                  <c:v>1761</c:v>
                </c:pt>
                <c:pt idx="214">
                  <c:v>1735</c:v>
                </c:pt>
                <c:pt idx="215">
                  <c:v>1731</c:v>
                </c:pt>
                <c:pt idx="216">
                  <c:v>1735</c:v>
                </c:pt>
                <c:pt idx="217">
                  <c:v>1689</c:v>
                </c:pt>
                <c:pt idx="218">
                  <c:v>1681</c:v>
                </c:pt>
                <c:pt idx="219">
                  <c:v>1664</c:v>
                </c:pt>
                <c:pt idx="220">
                  <c:v>1625</c:v>
                </c:pt>
                <c:pt idx="221">
                  <c:v>1607</c:v>
                </c:pt>
                <c:pt idx="222">
                  <c:v>1602</c:v>
                </c:pt>
                <c:pt idx="223">
                  <c:v>1608</c:v>
                </c:pt>
                <c:pt idx="224">
                  <c:v>1575</c:v>
                </c:pt>
                <c:pt idx="225">
                  <c:v>1548</c:v>
                </c:pt>
                <c:pt idx="226">
                  <c:v>1531</c:v>
                </c:pt>
                <c:pt idx="227">
                  <c:v>1512</c:v>
                </c:pt>
                <c:pt idx="228">
                  <c:v>1509</c:v>
                </c:pt>
                <c:pt idx="229">
                  <c:v>1508</c:v>
                </c:pt>
                <c:pt idx="230">
                  <c:v>1523</c:v>
                </c:pt>
                <c:pt idx="231">
                  <c:v>1515</c:v>
                </c:pt>
                <c:pt idx="232">
                  <c:v>1484</c:v>
                </c:pt>
                <c:pt idx="233">
                  <c:v>1475</c:v>
                </c:pt>
                <c:pt idx="234">
                  <c:v>1471</c:v>
                </c:pt>
                <c:pt idx="235">
                  <c:v>1455</c:v>
                </c:pt>
                <c:pt idx="236">
                  <c:v>1452</c:v>
                </c:pt>
                <c:pt idx="237">
                  <c:v>1458</c:v>
                </c:pt>
                <c:pt idx="238">
                  <c:v>1455</c:v>
                </c:pt>
                <c:pt idx="239">
                  <c:v>1448</c:v>
                </c:pt>
                <c:pt idx="240">
                  <c:v>1444</c:v>
                </c:pt>
                <c:pt idx="241">
                  <c:v>1441</c:v>
                </c:pt>
                <c:pt idx="242">
                  <c:v>1430</c:v>
                </c:pt>
                <c:pt idx="243">
                  <c:v>1429</c:v>
                </c:pt>
                <c:pt idx="244">
                  <c:v>1435</c:v>
                </c:pt>
                <c:pt idx="245">
                  <c:v>1417</c:v>
                </c:pt>
                <c:pt idx="246">
                  <c:v>1410</c:v>
                </c:pt>
                <c:pt idx="247">
                  <c:v>1404</c:v>
                </c:pt>
                <c:pt idx="248">
                  <c:v>1401</c:v>
                </c:pt>
                <c:pt idx="249">
                  <c:v>1390</c:v>
                </c:pt>
                <c:pt idx="250">
                  <c:v>1391</c:v>
                </c:pt>
                <c:pt idx="251">
                  <c:v>1398</c:v>
                </c:pt>
                <c:pt idx="252">
                  <c:v>1394</c:v>
                </c:pt>
                <c:pt idx="253">
                  <c:v>1387</c:v>
                </c:pt>
                <c:pt idx="254">
                  <c:v>1387</c:v>
                </c:pt>
                <c:pt idx="255">
                  <c:v>1387</c:v>
                </c:pt>
                <c:pt idx="256">
                  <c:v>1380</c:v>
                </c:pt>
                <c:pt idx="257">
                  <c:v>1379</c:v>
                </c:pt>
                <c:pt idx="258">
                  <c:v>1383</c:v>
                </c:pt>
                <c:pt idx="259">
                  <c:v>1381</c:v>
                </c:pt>
                <c:pt idx="260">
                  <c:v>1380</c:v>
                </c:pt>
                <c:pt idx="261">
                  <c:v>1378</c:v>
                </c:pt>
                <c:pt idx="262">
                  <c:v>1378</c:v>
                </c:pt>
                <c:pt idx="263">
                  <c:v>1374</c:v>
                </c:pt>
                <c:pt idx="264">
                  <c:v>1373</c:v>
                </c:pt>
                <c:pt idx="265">
                  <c:v>1376</c:v>
                </c:pt>
                <c:pt idx="266">
                  <c:v>1373</c:v>
                </c:pt>
                <c:pt idx="267">
                  <c:v>1369</c:v>
                </c:pt>
                <c:pt idx="268">
                  <c:v>1367</c:v>
                </c:pt>
                <c:pt idx="269">
                  <c:v>1364</c:v>
                </c:pt>
                <c:pt idx="270">
                  <c:v>1362</c:v>
                </c:pt>
                <c:pt idx="271">
                  <c:v>1359</c:v>
                </c:pt>
                <c:pt idx="272">
                  <c:v>1358</c:v>
                </c:pt>
                <c:pt idx="273">
                  <c:v>1353</c:v>
                </c:pt>
                <c:pt idx="274">
                  <c:v>1353</c:v>
                </c:pt>
                <c:pt idx="275">
                  <c:v>1349</c:v>
                </c:pt>
                <c:pt idx="276">
                  <c:v>1344</c:v>
                </c:pt>
                <c:pt idx="277">
                  <c:v>1343</c:v>
                </c:pt>
                <c:pt idx="278">
                  <c:v>1343</c:v>
                </c:pt>
                <c:pt idx="279">
                  <c:v>1343</c:v>
                </c:pt>
                <c:pt idx="280">
                  <c:v>1341</c:v>
                </c:pt>
                <c:pt idx="281">
                  <c:v>1338</c:v>
                </c:pt>
                <c:pt idx="282">
                  <c:v>1337</c:v>
                </c:pt>
                <c:pt idx="283">
                  <c:v>1338</c:v>
                </c:pt>
                <c:pt idx="284">
                  <c:v>1335</c:v>
                </c:pt>
                <c:pt idx="285">
                  <c:v>1335</c:v>
                </c:pt>
                <c:pt idx="286">
                  <c:v>1335</c:v>
                </c:pt>
                <c:pt idx="287">
                  <c:v>1335</c:v>
                </c:pt>
                <c:pt idx="288">
                  <c:v>1335</c:v>
                </c:pt>
                <c:pt idx="289">
                  <c:v>1334</c:v>
                </c:pt>
                <c:pt idx="290">
                  <c:v>1334</c:v>
                </c:pt>
                <c:pt idx="291">
                  <c:v>1334</c:v>
                </c:pt>
                <c:pt idx="292">
                  <c:v>1334</c:v>
                </c:pt>
                <c:pt idx="293">
                  <c:v>1334</c:v>
                </c:pt>
                <c:pt idx="294">
                  <c:v>1334</c:v>
                </c:pt>
                <c:pt idx="295">
                  <c:v>1335</c:v>
                </c:pt>
                <c:pt idx="296">
                  <c:v>1336</c:v>
                </c:pt>
                <c:pt idx="297">
                  <c:v>1334</c:v>
                </c:pt>
                <c:pt idx="298">
                  <c:v>1334</c:v>
                </c:pt>
                <c:pt idx="299">
                  <c:v>1334</c:v>
                </c:pt>
                <c:pt idx="300">
                  <c:v>1335</c:v>
                </c:pt>
                <c:pt idx="301">
                  <c:v>1335</c:v>
                </c:pt>
                <c:pt idx="302">
                  <c:v>1335</c:v>
                </c:pt>
                <c:pt idx="303">
                  <c:v>1336</c:v>
                </c:pt>
                <c:pt idx="304">
                  <c:v>1334</c:v>
                </c:pt>
                <c:pt idx="305">
                  <c:v>1334</c:v>
                </c:pt>
                <c:pt idx="306">
                  <c:v>1335</c:v>
                </c:pt>
                <c:pt idx="307">
                  <c:v>1335</c:v>
                </c:pt>
                <c:pt idx="308">
                  <c:v>1335</c:v>
                </c:pt>
                <c:pt idx="309">
                  <c:v>1336</c:v>
                </c:pt>
                <c:pt idx="310">
                  <c:v>1336</c:v>
                </c:pt>
                <c:pt idx="311">
                  <c:v>1336</c:v>
                </c:pt>
                <c:pt idx="312">
                  <c:v>1336</c:v>
                </c:pt>
                <c:pt idx="313">
                  <c:v>1337</c:v>
                </c:pt>
                <c:pt idx="314">
                  <c:v>1337</c:v>
                </c:pt>
                <c:pt idx="315">
                  <c:v>1337</c:v>
                </c:pt>
                <c:pt idx="316">
                  <c:v>1337</c:v>
                </c:pt>
                <c:pt idx="317">
                  <c:v>1337</c:v>
                </c:pt>
                <c:pt idx="318">
                  <c:v>1336</c:v>
                </c:pt>
                <c:pt idx="319">
                  <c:v>1336</c:v>
                </c:pt>
                <c:pt idx="320">
                  <c:v>1336</c:v>
                </c:pt>
                <c:pt idx="321">
                  <c:v>1336</c:v>
                </c:pt>
                <c:pt idx="322">
                  <c:v>1335</c:v>
                </c:pt>
                <c:pt idx="323">
                  <c:v>1336</c:v>
                </c:pt>
                <c:pt idx="324">
                  <c:v>1335</c:v>
                </c:pt>
                <c:pt idx="325">
                  <c:v>1335</c:v>
                </c:pt>
                <c:pt idx="326">
                  <c:v>1335</c:v>
                </c:pt>
                <c:pt idx="327">
                  <c:v>1334</c:v>
                </c:pt>
                <c:pt idx="328">
                  <c:v>1333</c:v>
                </c:pt>
                <c:pt idx="329">
                  <c:v>1334</c:v>
                </c:pt>
                <c:pt idx="330">
                  <c:v>1335</c:v>
                </c:pt>
                <c:pt idx="331">
                  <c:v>1335</c:v>
                </c:pt>
                <c:pt idx="332">
                  <c:v>1334</c:v>
                </c:pt>
                <c:pt idx="333">
                  <c:v>1334</c:v>
                </c:pt>
                <c:pt idx="334">
                  <c:v>1334</c:v>
                </c:pt>
                <c:pt idx="335">
                  <c:v>1334</c:v>
                </c:pt>
                <c:pt idx="336">
                  <c:v>1333</c:v>
                </c:pt>
                <c:pt idx="337">
                  <c:v>1333</c:v>
                </c:pt>
                <c:pt idx="338">
                  <c:v>1332</c:v>
                </c:pt>
                <c:pt idx="339">
                  <c:v>1332</c:v>
                </c:pt>
                <c:pt idx="340">
                  <c:v>1332</c:v>
                </c:pt>
                <c:pt idx="341">
                  <c:v>1333</c:v>
                </c:pt>
                <c:pt idx="342">
                  <c:v>1333</c:v>
                </c:pt>
                <c:pt idx="343">
                  <c:v>1332</c:v>
                </c:pt>
                <c:pt idx="344">
                  <c:v>1332</c:v>
                </c:pt>
                <c:pt idx="345">
                  <c:v>1332</c:v>
                </c:pt>
                <c:pt idx="346">
                  <c:v>1332</c:v>
                </c:pt>
                <c:pt idx="347">
                  <c:v>1332</c:v>
                </c:pt>
                <c:pt idx="348">
                  <c:v>1332</c:v>
                </c:pt>
                <c:pt idx="349">
                  <c:v>1333</c:v>
                </c:pt>
                <c:pt idx="350">
                  <c:v>1333</c:v>
                </c:pt>
                <c:pt idx="351">
                  <c:v>1333</c:v>
                </c:pt>
                <c:pt idx="352">
                  <c:v>1334</c:v>
                </c:pt>
                <c:pt idx="353">
                  <c:v>1333</c:v>
                </c:pt>
                <c:pt idx="354">
                  <c:v>1333</c:v>
                </c:pt>
                <c:pt idx="355">
                  <c:v>1333</c:v>
                </c:pt>
                <c:pt idx="356">
                  <c:v>1336</c:v>
                </c:pt>
                <c:pt idx="357">
                  <c:v>1336</c:v>
                </c:pt>
                <c:pt idx="358">
                  <c:v>1336</c:v>
                </c:pt>
                <c:pt idx="359">
                  <c:v>1336</c:v>
                </c:pt>
                <c:pt idx="360">
                  <c:v>1337</c:v>
                </c:pt>
                <c:pt idx="361">
                  <c:v>1336</c:v>
                </c:pt>
                <c:pt idx="362">
                  <c:v>1336</c:v>
                </c:pt>
                <c:pt idx="363">
                  <c:v>1336</c:v>
                </c:pt>
                <c:pt idx="364">
                  <c:v>1336</c:v>
                </c:pt>
                <c:pt idx="365">
                  <c:v>1342</c:v>
                </c:pt>
                <c:pt idx="366">
                  <c:v>1347</c:v>
                </c:pt>
                <c:pt idx="367">
                  <c:v>1350</c:v>
                </c:pt>
                <c:pt idx="368">
                  <c:v>1351</c:v>
                </c:pt>
                <c:pt idx="369">
                  <c:v>1350</c:v>
                </c:pt>
                <c:pt idx="370">
                  <c:v>1355</c:v>
                </c:pt>
                <c:pt idx="371">
                  <c:v>1353</c:v>
                </c:pt>
                <c:pt idx="372">
                  <c:v>1354</c:v>
                </c:pt>
                <c:pt idx="373">
                  <c:v>1355</c:v>
                </c:pt>
                <c:pt idx="374">
                  <c:v>1356</c:v>
                </c:pt>
                <c:pt idx="375">
                  <c:v>1355</c:v>
                </c:pt>
                <c:pt idx="376">
                  <c:v>1354</c:v>
                </c:pt>
                <c:pt idx="377">
                  <c:v>1355</c:v>
                </c:pt>
                <c:pt idx="378">
                  <c:v>1356</c:v>
                </c:pt>
                <c:pt idx="379">
                  <c:v>1355</c:v>
                </c:pt>
                <c:pt idx="380">
                  <c:v>1354</c:v>
                </c:pt>
                <c:pt idx="381">
                  <c:v>1351</c:v>
                </c:pt>
                <c:pt idx="382">
                  <c:v>1349</c:v>
                </c:pt>
                <c:pt idx="383">
                  <c:v>1349</c:v>
                </c:pt>
                <c:pt idx="384">
                  <c:v>1354</c:v>
                </c:pt>
                <c:pt idx="385">
                  <c:v>1354</c:v>
                </c:pt>
                <c:pt idx="386">
                  <c:v>1354</c:v>
                </c:pt>
                <c:pt idx="387">
                  <c:v>1352</c:v>
                </c:pt>
                <c:pt idx="388">
                  <c:v>1352</c:v>
                </c:pt>
                <c:pt idx="389">
                  <c:v>1353</c:v>
                </c:pt>
                <c:pt idx="390">
                  <c:v>1354</c:v>
                </c:pt>
                <c:pt idx="391">
                  <c:v>1360</c:v>
                </c:pt>
                <c:pt idx="392">
                  <c:v>1360</c:v>
                </c:pt>
                <c:pt idx="393">
                  <c:v>1366</c:v>
                </c:pt>
                <c:pt idx="394">
                  <c:v>1367</c:v>
                </c:pt>
                <c:pt idx="395">
                  <c:v>1370</c:v>
                </c:pt>
                <c:pt idx="396">
                  <c:v>1370</c:v>
                </c:pt>
                <c:pt idx="397">
                  <c:v>1370</c:v>
                </c:pt>
                <c:pt idx="398">
                  <c:v>1375</c:v>
                </c:pt>
                <c:pt idx="399">
                  <c:v>1379</c:v>
                </c:pt>
                <c:pt idx="400">
                  <c:v>1387</c:v>
                </c:pt>
                <c:pt idx="401">
                  <c:v>1387</c:v>
                </c:pt>
                <c:pt idx="402">
                  <c:v>1413</c:v>
                </c:pt>
                <c:pt idx="403">
                  <c:v>1414</c:v>
                </c:pt>
                <c:pt idx="404">
                  <c:v>1412</c:v>
                </c:pt>
                <c:pt idx="405">
                  <c:v>1415</c:v>
                </c:pt>
                <c:pt idx="406">
                  <c:v>1412</c:v>
                </c:pt>
                <c:pt idx="407">
                  <c:v>1430</c:v>
                </c:pt>
                <c:pt idx="408">
                  <c:v>1428</c:v>
                </c:pt>
                <c:pt idx="409">
                  <c:v>1434</c:v>
                </c:pt>
                <c:pt idx="410">
                  <c:v>1433</c:v>
                </c:pt>
                <c:pt idx="411">
                  <c:v>1433</c:v>
                </c:pt>
                <c:pt idx="412">
                  <c:v>1449</c:v>
                </c:pt>
                <c:pt idx="413">
                  <c:v>1454</c:v>
                </c:pt>
                <c:pt idx="414">
                  <c:v>1458</c:v>
                </c:pt>
                <c:pt idx="415">
                  <c:v>1460</c:v>
                </c:pt>
                <c:pt idx="416">
                  <c:v>1450</c:v>
                </c:pt>
                <c:pt idx="417">
                  <c:v>1444</c:v>
                </c:pt>
                <c:pt idx="418">
                  <c:v>1446</c:v>
                </c:pt>
                <c:pt idx="419">
                  <c:v>1478</c:v>
                </c:pt>
                <c:pt idx="420">
                  <c:v>1489</c:v>
                </c:pt>
                <c:pt idx="421">
                  <c:v>1512</c:v>
                </c:pt>
                <c:pt idx="422">
                  <c:v>1497</c:v>
                </c:pt>
                <c:pt idx="423">
                  <c:v>1520</c:v>
                </c:pt>
                <c:pt idx="424">
                  <c:v>1523</c:v>
                </c:pt>
                <c:pt idx="425">
                  <c:v>1533</c:v>
                </c:pt>
                <c:pt idx="426">
                  <c:v>1609</c:v>
                </c:pt>
                <c:pt idx="427">
                  <c:v>1632</c:v>
                </c:pt>
                <c:pt idx="428">
                  <c:v>1650</c:v>
                </c:pt>
                <c:pt idx="429">
                  <c:v>1712</c:v>
                </c:pt>
                <c:pt idx="430">
                  <c:v>1749</c:v>
                </c:pt>
                <c:pt idx="431">
                  <c:v>1750</c:v>
                </c:pt>
                <c:pt idx="432">
                  <c:v>1751</c:v>
                </c:pt>
                <c:pt idx="433">
                  <c:v>1826</c:v>
                </c:pt>
                <c:pt idx="434">
                  <c:v>1857</c:v>
                </c:pt>
                <c:pt idx="435">
                  <c:v>1875</c:v>
                </c:pt>
                <c:pt idx="436">
                  <c:v>1912</c:v>
                </c:pt>
                <c:pt idx="437">
                  <c:v>1952</c:v>
                </c:pt>
                <c:pt idx="438">
                  <c:v>1957</c:v>
                </c:pt>
                <c:pt idx="439">
                  <c:v>1969</c:v>
                </c:pt>
                <c:pt idx="440">
                  <c:v>2048</c:v>
                </c:pt>
                <c:pt idx="441">
                  <c:v>2048</c:v>
                </c:pt>
                <c:pt idx="442">
                  <c:v>2035</c:v>
                </c:pt>
                <c:pt idx="443">
                  <c:v>2083</c:v>
                </c:pt>
                <c:pt idx="444">
                  <c:v>2162</c:v>
                </c:pt>
                <c:pt idx="445">
                  <c:v>2153</c:v>
                </c:pt>
                <c:pt idx="446">
                  <c:v>2146</c:v>
                </c:pt>
                <c:pt idx="447">
                  <c:v>2253</c:v>
                </c:pt>
                <c:pt idx="448">
                  <c:v>2241</c:v>
                </c:pt>
                <c:pt idx="449">
                  <c:v>2261</c:v>
                </c:pt>
                <c:pt idx="450">
                  <c:v>2261</c:v>
                </c:pt>
                <c:pt idx="451">
                  <c:v>2303</c:v>
                </c:pt>
                <c:pt idx="452">
                  <c:v>2276</c:v>
                </c:pt>
                <c:pt idx="453">
                  <c:v>2265</c:v>
                </c:pt>
                <c:pt idx="454">
                  <c:v>2333</c:v>
                </c:pt>
                <c:pt idx="455">
                  <c:v>2294</c:v>
                </c:pt>
                <c:pt idx="456">
                  <c:v>2261</c:v>
                </c:pt>
                <c:pt idx="457">
                  <c:v>2279</c:v>
                </c:pt>
                <c:pt idx="458">
                  <c:v>2137</c:v>
                </c:pt>
                <c:pt idx="459">
                  <c:v>2121</c:v>
                </c:pt>
                <c:pt idx="460">
                  <c:v>2092</c:v>
                </c:pt>
                <c:pt idx="461">
                  <c:v>2148</c:v>
                </c:pt>
                <c:pt idx="462">
                  <c:v>2086</c:v>
                </c:pt>
                <c:pt idx="463">
                  <c:v>2055</c:v>
                </c:pt>
                <c:pt idx="464">
                  <c:v>2005</c:v>
                </c:pt>
                <c:pt idx="465">
                  <c:v>1944</c:v>
                </c:pt>
                <c:pt idx="466">
                  <c:v>1894</c:v>
                </c:pt>
                <c:pt idx="467">
                  <c:v>1887</c:v>
                </c:pt>
                <c:pt idx="468">
                  <c:v>1918</c:v>
                </c:pt>
                <c:pt idx="469">
                  <c:v>1875</c:v>
                </c:pt>
                <c:pt idx="470">
                  <c:v>1837</c:v>
                </c:pt>
                <c:pt idx="471">
                  <c:v>1789</c:v>
                </c:pt>
                <c:pt idx="472">
                  <c:v>1749</c:v>
                </c:pt>
                <c:pt idx="473">
                  <c:v>1655</c:v>
                </c:pt>
                <c:pt idx="474">
                  <c:v>1650</c:v>
                </c:pt>
                <c:pt idx="475">
                  <c:v>1677</c:v>
                </c:pt>
                <c:pt idx="476">
                  <c:v>1604</c:v>
                </c:pt>
                <c:pt idx="477">
                  <c:v>1552</c:v>
                </c:pt>
                <c:pt idx="478">
                  <c:v>1487</c:v>
                </c:pt>
                <c:pt idx="479">
                  <c:v>1451</c:v>
                </c:pt>
                <c:pt idx="480">
                  <c:v>1416</c:v>
                </c:pt>
                <c:pt idx="481">
                  <c:v>1402</c:v>
                </c:pt>
                <c:pt idx="482">
                  <c:v>1410</c:v>
                </c:pt>
                <c:pt idx="483">
                  <c:v>1366</c:v>
                </c:pt>
                <c:pt idx="484">
                  <c:v>1330</c:v>
                </c:pt>
                <c:pt idx="485">
                  <c:v>1303</c:v>
                </c:pt>
                <c:pt idx="486">
                  <c:v>1284</c:v>
                </c:pt>
                <c:pt idx="487">
                  <c:v>1255</c:v>
                </c:pt>
                <c:pt idx="488">
                  <c:v>1244</c:v>
                </c:pt>
                <c:pt idx="489">
                  <c:v>1255</c:v>
                </c:pt>
                <c:pt idx="490">
                  <c:v>1229</c:v>
                </c:pt>
                <c:pt idx="491">
                  <c:v>1219</c:v>
                </c:pt>
                <c:pt idx="492">
                  <c:v>1219</c:v>
                </c:pt>
                <c:pt idx="493">
                  <c:v>1219</c:v>
                </c:pt>
                <c:pt idx="494">
                  <c:v>1214</c:v>
                </c:pt>
                <c:pt idx="495">
                  <c:v>1211</c:v>
                </c:pt>
                <c:pt idx="496">
                  <c:v>1227</c:v>
                </c:pt>
                <c:pt idx="497">
                  <c:v>1207</c:v>
                </c:pt>
                <c:pt idx="498">
                  <c:v>1200</c:v>
                </c:pt>
                <c:pt idx="499">
                  <c:v>1192</c:v>
                </c:pt>
                <c:pt idx="500">
                  <c:v>1194</c:v>
                </c:pt>
                <c:pt idx="501">
                  <c:v>1194</c:v>
                </c:pt>
                <c:pt idx="502">
                  <c:v>1207</c:v>
                </c:pt>
                <c:pt idx="503">
                  <c:v>1269</c:v>
                </c:pt>
                <c:pt idx="504">
                  <c:v>1293</c:v>
                </c:pt>
                <c:pt idx="505">
                  <c:v>1323</c:v>
                </c:pt>
                <c:pt idx="506">
                  <c:v>1382</c:v>
                </c:pt>
                <c:pt idx="507">
                  <c:v>1443</c:v>
                </c:pt>
                <c:pt idx="508">
                  <c:v>1456</c:v>
                </c:pt>
                <c:pt idx="509">
                  <c:v>1461</c:v>
                </c:pt>
                <c:pt idx="510">
                  <c:v>1563</c:v>
                </c:pt>
                <c:pt idx="511">
                  <c:v>1664</c:v>
                </c:pt>
                <c:pt idx="512">
                  <c:v>1785</c:v>
                </c:pt>
                <c:pt idx="513">
                  <c:v>1856</c:v>
                </c:pt>
                <c:pt idx="514">
                  <c:v>1912</c:v>
                </c:pt>
                <c:pt idx="515">
                  <c:v>1894</c:v>
                </c:pt>
                <c:pt idx="516">
                  <c:v>1870</c:v>
                </c:pt>
                <c:pt idx="517">
                  <c:v>1953</c:v>
                </c:pt>
                <c:pt idx="518">
                  <c:v>2018</c:v>
                </c:pt>
                <c:pt idx="519">
                  <c:v>2106</c:v>
                </c:pt>
                <c:pt idx="520">
                  <c:v>2158</c:v>
                </c:pt>
                <c:pt idx="521">
                  <c:v>2151</c:v>
                </c:pt>
                <c:pt idx="522">
                  <c:v>2011</c:v>
                </c:pt>
                <c:pt idx="523">
                  <c:v>1894</c:v>
                </c:pt>
                <c:pt idx="524">
                  <c:v>1954</c:v>
                </c:pt>
                <c:pt idx="525">
                  <c:v>1943</c:v>
                </c:pt>
                <c:pt idx="526">
                  <c:v>1987</c:v>
                </c:pt>
                <c:pt idx="527">
                  <c:v>2040</c:v>
                </c:pt>
                <c:pt idx="528">
                  <c:v>1949</c:v>
                </c:pt>
                <c:pt idx="529">
                  <c:v>1785</c:v>
                </c:pt>
                <c:pt idx="530">
                  <c:v>1684</c:v>
                </c:pt>
                <c:pt idx="531">
                  <c:v>1705</c:v>
                </c:pt>
                <c:pt idx="532">
                  <c:v>1670</c:v>
                </c:pt>
                <c:pt idx="533">
                  <c:v>1737</c:v>
                </c:pt>
                <c:pt idx="534">
                  <c:v>1792</c:v>
                </c:pt>
                <c:pt idx="535">
                  <c:v>1588</c:v>
                </c:pt>
                <c:pt idx="536">
                  <c:v>1430</c:v>
                </c:pt>
                <c:pt idx="537">
                  <c:v>1327</c:v>
                </c:pt>
                <c:pt idx="538">
                  <c:v>1281</c:v>
                </c:pt>
                <c:pt idx="539">
                  <c:v>1204</c:v>
                </c:pt>
                <c:pt idx="540">
                  <c:v>1229</c:v>
                </c:pt>
                <c:pt idx="541">
                  <c:v>1245</c:v>
                </c:pt>
                <c:pt idx="542">
                  <c:v>1092</c:v>
                </c:pt>
                <c:pt idx="543">
                  <c:v>966</c:v>
                </c:pt>
                <c:pt idx="544">
                  <c:v>810</c:v>
                </c:pt>
                <c:pt idx="545">
                  <c:v>764</c:v>
                </c:pt>
                <c:pt idx="546">
                  <c:v>732</c:v>
                </c:pt>
                <c:pt idx="547">
                  <c:v>754</c:v>
                </c:pt>
                <c:pt idx="548">
                  <c:v>753</c:v>
                </c:pt>
                <c:pt idx="549">
                  <c:v>623</c:v>
                </c:pt>
                <c:pt idx="550">
                  <c:v>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C$2:$C$104</c:f>
              <c:numCache>
                <c:formatCode>General</c:formatCode>
                <c:ptCount val="10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3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3</c:v>
                </c:pt>
                <c:pt idx="38">
                  <c:v>1</c:v>
                </c:pt>
                <c:pt idx="39">
                  <c:v>3</c:v>
                </c:pt>
                <c:pt idx="40">
                  <c:v>0</c:v>
                </c:pt>
                <c:pt idx="41">
                  <c:v>2</c:v>
                </c:pt>
                <c:pt idx="42">
                  <c:v>2</c:v>
                </c:pt>
                <c:pt idx="43">
                  <c:v>0</c:v>
                </c:pt>
                <c:pt idx="44">
                  <c:v>1</c:v>
                </c:pt>
                <c:pt idx="45">
                  <c:v>2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4</c:v>
                </c:pt>
                <c:pt idx="50">
                  <c:v>5</c:v>
                </c:pt>
                <c:pt idx="51">
                  <c:v>4</c:v>
                </c:pt>
                <c:pt idx="52">
                  <c:v>4</c:v>
                </c:pt>
                <c:pt idx="53">
                  <c:v>6</c:v>
                </c:pt>
                <c:pt idx="54">
                  <c:v>3</c:v>
                </c:pt>
                <c:pt idx="55">
                  <c:v>11</c:v>
                </c:pt>
                <c:pt idx="56">
                  <c:v>11</c:v>
                </c:pt>
                <c:pt idx="57">
                  <c:v>16</c:v>
                </c:pt>
                <c:pt idx="58">
                  <c:v>11</c:v>
                </c:pt>
                <c:pt idx="59">
                  <c:v>19</c:v>
                </c:pt>
                <c:pt idx="60">
                  <c:v>21</c:v>
                </c:pt>
                <c:pt idx="61">
                  <c:v>20</c:v>
                </c:pt>
                <c:pt idx="62">
                  <c:v>23</c:v>
                </c:pt>
                <c:pt idx="63">
                  <c:v>31</c:v>
                </c:pt>
                <c:pt idx="64">
                  <c:v>31</c:v>
                </c:pt>
                <c:pt idx="65">
                  <c:v>40</c:v>
                </c:pt>
                <c:pt idx="66">
                  <c:v>47</c:v>
                </c:pt>
                <c:pt idx="67">
                  <c:v>38</c:v>
                </c:pt>
                <c:pt idx="68">
                  <c:v>58</c:v>
                </c:pt>
                <c:pt idx="69">
                  <c:v>63</c:v>
                </c:pt>
                <c:pt idx="70">
                  <c:v>82</c:v>
                </c:pt>
                <c:pt idx="71">
                  <c:v>69</c:v>
                </c:pt>
                <c:pt idx="72">
                  <c:v>87</c:v>
                </c:pt>
                <c:pt idx="73">
                  <c:v>85</c:v>
                </c:pt>
                <c:pt idx="74">
                  <c:v>104</c:v>
                </c:pt>
                <c:pt idx="75">
                  <c:v>110</c:v>
                </c:pt>
                <c:pt idx="76">
                  <c:v>123</c:v>
                </c:pt>
                <c:pt idx="77">
                  <c:v>128</c:v>
                </c:pt>
                <c:pt idx="78">
                  <c:v>113</c:v>
                </c:pt>
                <c:pt idx="79">
                  <c:v>136</c:v>
                </c:pt>
                <c:pt idx="80">
                  <c:v>143</c:v>
                </c:pt>
                <c:pt idx="81">
                  <c:v>159</c:v>
                </c:pt>
                <c:pt idx="82">
                  <c:v>189</c:v>
                </c:pt>
                <c:pt idx="83">
                  <c:v>162</c:v>
                </c:pt>
                <c:pt idx="84">
                  <c:v>201</c:v>
                </c:pt>
                <c:pt idx="85">
                  <c:v>202</c:v>
                </c:pt>
                <c:pt idx="86">
                  <c:v>187</c:v>
                </c:pt>
                <c:pt idx="87">
                  <c:v>181</c:v>
                </c:pt>
                <c:pt idx="88">
                  <c:v>155</c:v>
                </c:pt>
                <c:pt idx="89">
                  <c:v>106</c:v>
                </c:pt>
                <c:pt idx="90">
                  <c:v>93</c:v>
                </c:pt>
                <c:pt idx="91">
                  <c:v>64</c:v>
                </c:pt>
                <c:pt idx="92">
                  <c:v>62</c:v>
                </c:pt>
                <c:pt idx="93">
                  <c:v>51</c:v>
                </c:pt>
                <c:pt idx="94">
                  <c:v>28</c:v>
                </c:pt>
                <c:pt idx="95">
                  <c:v>22</c:v>
                </c:pt>
                <c:pt idx="96">
                  <c:v>9</c:v>
                </c:pt>
                <c:pt idx="97">
                  <c:v>5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1</c:v>
                </c:pt>
                <c:pt idx="10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B$2:$B$104</c:f>
              <c:numCache>
                <c:formatCode>General</c:formatCode>
                <c:ptCount val="103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  <c:pt idx="4">
                  <c:v>8</c:v>
                </c:pt>
                <c:pt idx="5">
                  <c:v>10</c:v>
                </c:pt>
                <c:pt idx="6">
                  <c:v>4</c:v>
                </c:pt>
                <c:pt idx="7">
                  <c:v>17</c:v>
                </c:pt>
                <c:pt idx="8">
                  <c:v>17</c:v>
                </c:pt>
                <c:pt idx="9">
                  <c:v>19</c:v>
                </c:pt>
                <c:pt idx="10">
                  <c:v>20</c:v>
                </c:pt>
                <c:pt idx="11">
                  <c:v>14</c:v>
                </c:pt>
                <c:pt idx="12">
                  <c:v>32</c:v>
                </c:pt>
                <c:pt idx="13">
                  <c:v>20</c:v>
                </c:pt>
                <c:pt idx="14">
                  <c:v>29</c:v>
                </c:pt>
                <c:pt idx="15">
                  <c:v>26</c:v>
                </c:pt>
                <c:pt idx="16">
                  <c:v>38</c:v>
                </c:pt>
                <c:pt idx="17">
                  <c:v>31</c:v>
                </c:pt>
                <c:pt idx="18">
                  <c:v>27</c:v>
                </c:pt>
                <c:pt idx="19">
                  <c:v>38</c:v>
                </c:pt>
                <c:pt idx="20">
                  <c:v>49</c:v>
                </c:pt>
                <c:pt idx="21">
                  <c:v>58</c:v>
                </c:pt>
                <c:pt idx="22">
                  <c:v>67</c:v>
                </c:pt>
                <c:pt idx="23">
                  <c:v>64</c:v>
                </c:pt>
                <c:pt idx="24">
                  <c:v>82</c:v>
                </c:pt>
                <c:pt idx="25">
                  <c:v>73</c:v>
                </c:pt>
                <c:pt idx="26">
                  <c:v>79</c:v>
                </c:pt>
                <c:pt idx="27">
                  <c:v>83</c:v>
                </c:pt>
                <c:pt idx="28">
                  <c:v>85</c:v>
                </c:pt>
                <c:pt idx="29">
                  <c:v>88</c:v>
                </c:pt>
                <c:pt idx="30">
                  <c:v>99</c:v>
                </c:pt>
                <c:pt idx="31">
                  <c:v>94</c:v>
                </c:pt>
                <c:pt idx="32">
                  <c:v>86</c:v>
                </c:pt>
                <c:pt idx="33">
                  <c:v>98</c:v>
                </c:pt>
                <c:pt idx="34">
                  <c:v>132</c:v>
                </c:pt>
                <c:pt idx="35">
                  <c:v>106</c:v>
                </c:pt>
                <c:pt idx="36">
                  <c:v>135</c:v>
                </c:pt>
                <c:pt idx="37">
                  <c:v>151</c:v>
                </c:pt>
                <c:pt idx="38">
                  <c:v>136</c:v>
                </c:pt>
                <c:pt idx="39">
                  <c:v>143</c:v>
                </c:pt>
                <c:pt idx="40">
                  <c:v>162</c:v>
                </c:pt>
                <c:pt idx="41">
                  <c:v>157</c:v>
                </c:pt>
                <c:pt idx="42">
                  <c:v>162</c:v>
                </c:pt>
                <c:pt idx="43">
                  <c:v>160</c:v>
                </c:pt>
                <c:pt idx="44">
                  <c:v>140</c:v>
                </c:pt>
                <c:pt idx="45">
                  <c:v>146</c:v>
                </c:pt>
                <c:pt idx="46">
                  <c:v>155</c:v>
                </c:pt>
                <c:pt idx="47">
                  <c:v>170</c:v>
                </c:pt>
                <c:pt idx="48">
                  <c:v>140</c:v>
                </c:pt>
                <c:pt idx="49">
                  <c:v>161</c:v>
                </c:pt>
                <c:pt idx="50">
                  <c:v>170</c:v>
                </c:pt>
                <c:pt idx="51">
                  <c:v>197</c:v>
                </c:pt>
                <c:pt idx="52">
                  <c:v>186</c:v>
                </c:pt>
                <c:pt idx="53">
                  <c:v>186</c:v>
                </c:pt>
                <c:pt idx="54">
                  <c:v>160</c:v>
                </c:pt>
                <c:pt idx="55">
                  <c:v>198</c:v>
                </c:pt>
                <c:pt idx="56">
                  <c:v>229</c:v>
                </c:pt>
                <c:pt idx="57">
                  <c:v>225</c:v>
                </c:pt>
                <c:pt idx="58">
                  <c:v>243</c:v>
                </c:pt>
                <c:pt idx="59">
                  <c:v>282</c:v>
                </c:pt>
                <c:pt idx="60">
                  <c:v>336</c:v>
                </c:pt>
                <c:pt idx="61">
                  <c:v>313</c:v>
                </c:pt>
                <c:pt idx="62">
                  <c:v>344</c:v>
                </c:pt>
                <c:pt idx="63">
                  <c:v>357</c:v>
                </c:pt>
                <c:pt idx="64">
                  <c:v>376</c:v>
                </c:pt>
                <c:pt idx="65">
                  <c:v>464</c:v>
                </c:pt>
                <c:pt idx="66">
                  <c:v>483</c:v>
                </c:pt>
                <c:pt idx="67">
                  <c:v>496</c:v>
                </c:pt>
                <c:pt idx="68">
                  <c:v>587</c:v>
                </c:pt>
                <c:pt idx="69">
                  <c:v>633</c:v>
                </c:pt>
                <c:pt idx="70">
                  <c:v>664</c:v>
                </c:pt>
                <c:pt idx="71">
                  <c:v>628</c:v>
                </c:pt>
                <c:pt idx="72">
                  <c:v>766</c:v>
                </c:pt>
                <c:pt idx="73">
                  <c:v>805</c:v>
                </c:pt>
                <c:pt idx="74">
                  <c:v>813</c:v>
                </c:pt>
                <c:pt idx="75">
                  <c:v>878</c:v>
                </c:pt>
                <c:pt idx="76">
                  <c:v>969</c:v>
                </c:pt>
                <c:pt idx="77">
                  <c:v>966</c:v>
                </c:pt>
                <c:pt idx="78">
                  <c:v>970</c:v>
                </c:pt>
                <c:pt idx="79">
                  <c:v>1093</c:v>
                </c:pt>
                <c:pt idx="80">
                  <c:v>1068</c:v>
                </c:pt>
                <c:pt idx="81">
                  <c:v>1205</c:v>
                </c:pt>
                <c:pt idx="82">
                  <c:v>1259</c:v>
                </c:pt>
                <c:pt idx="83">
                  <c:v>1288</c:v>
                </c:pt>
                <c:pt idx="84">
                  <c:v>1348</c:v>
                </c:pt>
                <c:pt idx="85">
                  <c:v>1290</c:v>
                </c:pt>
                <c:pt idx="86">
                  <c:v>1275</c:v>
                </c:pt>
                <c:pt idx="87">
                  <c:v>1085</c:v>
                </c:pt>
                <c:pt idx="88">
                  <c:v>950</c:v>
                </c:pt>
                <c:pt idx="89">
                  <c:v>777</c:v>
                </c:pt>
                <c:pt idx="90">
                  <c:v>554</c:v>
                </c:pt>
                <c:pt idx="91">
                  <c:v>431</c:v>
                </c:pt>
                <c:pt idx="92">
                  <c:v>326</c:v>
                </c:pt>
                <c:pt idx="93">
                  <c:v>241</c:v>
                </c:pt>
                <c:pt idx="94">
                  <c:v>157</c:v>
                </c:pt>
                <c:pt idx="95">
                  <c:v>101</c:v>
                </c:pt>
                <c:pt idx="96">
                  <c:v>46</c:v>
                </c:pt>
                <c:pt idx="97">
                  <c:v>28</c:v>
                </c:pt>
                <c:pt idx="98">
                  <c:v>7</c:v>
                </c:pt>
                <c:pt idx="99">
                  <c:v>5</c:v>
                </c:pt>
                <c:pt idx="100">
                  <c:v>3</c:v>
                </c:pt>
                <c:pt idx="101">
                  <c:v>2</c:v>
                </c:pt>
                <c:pt idx="10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095798771781857E-2"/>
          <c:y val="2.8705141534522347E-2"/>
          <c:w val="0.91847729224387953"/>
          <c:h val="0.82527763003509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52</c:f>
              <c:numCache>
                <c:formatCode>m/d/yyyy</c:formatCode>
                <c:ptCount val="5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</c:numCache>
            </c:numRef>
          </c:cat>
          <c:val>
            <c:numRef>
              <c:f>Sheet1!$B$2:$B$552</c:f>
              <c:numCache>
                <c:formatCode>#\ ##0_ ;\-#\ ##0\ </c:formatCode>
                <c:ptCount val="551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4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5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1</c:v>
                </c:pt>
                <c:pt idx="31">
                  <c:v>62</c:v>
                </c:pt>
                <c:pt idx="32">
                  <c:v>36</c:v>
                </c:pt>
                <c:pt idx="33">
                  <c:v>54</c:v>
                </c:pt>
                <c:pt idx="34">
                  <c:v>167</c:v>
                </c:pt>
                <c:pt idx="35">
                  <c:v>82</c:v>
                </c:pt>
                <c:pt idx="36">
                  <c:v>45</c:v>
                </c:pt>
                <c:pt idx="37">
                  <c:v>79</c:v>
                </c:pt>
                <c:pt idx="38">
                  <c:v>139</c:v>
                </c:pt>
                <c:pt idx="39">
                  <c:v>30</c:v>
                </c:pt>
                <c:pt idx="40">
                  <c:v>13</c:v>
                </c:pt>
                <c:pt idx="41">
                  <c:v>139</c:v>
                </c:pt>
                <c:pt idx="42">
                  <c:v>225</c:v>
                </c:pt>
                <c:pt idx="43">
                  <c:v>181</c:v>
                </c:pt>
                <c:pt idx="44">
                  <c:v>203</c:v>
                </c:pt>
                <c:pt idx="45">
                  <c:v>206</c:v>
                </c:pt>
                <c:pt idx="46">
                  <c:v>157</c:v>
                </c:pt>
                <c:pt idx="47">
                  <c:v>41</c:v>
                </c:pt>
                <c:pt idx="48">
                  <c:v>246</c:v>
                </c:pt>
                <c:pt idx="49">
                  <c:v>203</c:v>
                </c:pt>
                <c:pt idx="50">
                  <c:v>327</c:v>
                </c:pt>
                <c:pt idx="51">
                  <c:v>238</c:v>
                </c:pt>
                <c:pt idx="52">
                  <c:v>424</c:v>
                </c:pt>
                <c:pt idx="53">
                  <c:v>229</c:v>
                </c:pt>
                <c:pt idx="54">
                  <c:v>198</c:v>
                </c:pt>
                <c:pt idx="55">
                  <c:v>391</c:v>
                </c:pt>
                <c:pt idx="56">
                  <c:v>536</c:v>
                </c:pt>
                <c:pt idx="57">
                  <c:v>266</c:v>
                </c:pt>
                <c:pt idx="58">
                  <c:v>547</c:v>
                </c:pt>
                <c:pt idx="59">
                  <c:v>589</c:v>
                </c:pt>
                <c:pt idx="60">
                  <c:v>339</c:v>
                </c:pt>
                <c:pt idx="61">
                  <c:v>215</c:v>
                </c:pt>
                <c:pt idx="62">
                  <c:v>337</c:v>
                </c:pt>
                <c:pt idx="63">
                  <c:v>349</c:v>
                </c:pt>
                <c:pt idx="64">
                  <c:v>426</c:v>
                </c:pt>
                <c:pt idx="65">
                  <c:v>541</c:v>
                </c:pt>
                <c:pt idx="66">
                  <c:v>496</c:v>
                </c:pt>
                <c:pt idx="67">
                  <c:v>216</c:v>
                </c:pt>
                <c:pt idx="68">
                  <c:v>81</c:v>
                </c:pt>
                <c:pt idx="69">
                  <c:v>207</c:v>
                </c:pt>
                <c:pt idx="70">
                  <c:v>387</c:v>
                </c:pt>
                <c:pt idx="71">
                  <c:v>682</c:v>
                </c:pt>
                <c:pt idx="72">
                  <c:v>503</c:v>
                </c:pt>
                <c:pt idx="73">
                  <c:v>486</c:v>
                </c:pt>
                <c:pt idx="74">
                  <c:v>185</c:v>
                </c:pt>
                <c:pt idx="75">
                  <c:v>170</c:v>
                </c:pt>
                <c:pt idx="76">
                  <c:v>391</c:v>
                </c:pt>
                <c:pt idx="77">
                  <c:v>139</c:v>
                </c:pt>
                <c:pt idx="78">
                  <c:v>271</c:v>
                </c:pt>
                <c:pt idx="79">
                  <c:v>275</c:v>
                </c:pt>
                <c:pt idx="80">
                  <c:v>244</c:v>
                </c:pt>
                <c:pt idx="81">
                  <c:v>95</c:v>
                </c:pt>
                <c:pt idx="82">
                  <c:v>92</c:v>
                </c:pt>
                <c:pt idx="83">
                  <c:v>384</c:v>
                </c:pt>
                <c:pt idx="84">
                  <c:v>201</c:v>
                </c:pt>
                <c:pt idx="85">
                  <c:v>131</c:v>
                </c:pt>
                <c:pt idx="86">
                  <c:v>199</c:v>
                </c:pt>
                <c:pt idx="87">
                  <c:v>140</c:v>
                </c:pt>
                <c:pt idx="88">
                  <c:v>78</c:v>
                </c:pt>
                <c:pt idx="89">
                  <c:v>29</c:v>
                </c:pt>
                <c:pt idx="90">
                  <c:v>213</c:v>
                </c:pt>
                <c:pt idx="91">
                  <c:v>124</c:v>
                </c:pt>
                <c:pt idx="92">
                  <c:v>135</c:v>
                </c:pt>
                <c:pt idx="93">
                  <c:v>131</c:v>
                </c:pt>
                <c:pt idx="94">
                  <c:v>149</c:v>
                </c:pt>
                <c:pt idx="95">
                  <c:v>90</c:v>
                </c:pt>
                <c:pt idx="96">
                  <c:v>22</c:v>
                </c:pt>
                <c:pt idx="97">
                  <c:v>143</c:v>
                </c:pt>
                <c:pt idx="98">
                  <c:v>91</c:v>
                </c:pt>
                <c:pt idx="99">
                  <c:v>141</c:v>
                </c:pt>
                <c:pt idx="100">
                  <c:v>85</c:v>
                </c:pt>
                <c:pt idx="101">
                  <c:v>240</c:v>
                </c:pt>
                <c:pt idx="102">
                  <c:v>67</c:v>
                </c:pt>
                <c:pt idx="103">
                  <c:v>50</c:v>
                </c:pt>
                <c:pt idx="104">
                  <c:v>150</c:v>
                </c:pt>
                <c:pt idx="105">
                  <c:v>134</c:v>
                </c:pt>
                <c:pt idx="106">
                  <c:v>100</c:v>
                </c:pt>
                <c:pt idx="107">
                  <c:v>70</c:v>
                </c:pt>
                <c:pt idx="108">
                  <c:v>223</c:v>
                </c:pt>
                <c:pt idx="109">
                  <c:v>61</c:v>
                </c:pt>
                <c:pt idx="110">
                  <c:v>22</c:v>
                </c:pt>
                <c:pt idx="111">
                  <c:v>180</c:v>
                </c:pt>
                <c:pt idx="112">
                  <c:v>178</c:v>
                </c:pt>
                <c:pt idx="113">
                  <c:v>124</c:v>
                </c:pt>
                <c:pt idx="114">
                  <c:v>18</c:v>
                </c:pt>
                <c:pt idx="115">
                  <c:v>72</c:v>
                </c:pt>
                <c:pt idx="116">
                  <c:v>80</c:v>
                </c:pt>
                <c:pt idx="117">
                  <c:v>98</c:v>
                </c:pt>
                <c:pt idx="118">
                  <c:v>166</c:v>
                </c:pt>
                <c:pt idx="119">
                  <c:v>186</c:v>
                </c:pt>
                <c:pt idx="120">
                  <c:v>149</c:v>
                </c:pt>
                <c:pt idx="121">
                  <c:v>136</c:v>
                </c:pt>
                <c:pt idx="122">
                  <c:v>67</c:v>
                </c:pt>
                <c:pt idx="123">
                  <c:v>62</c:v>
                </c:pt>
                <c:pt idx="124">
                  <c:v>43</c:v>
                </c:pt>
                <c:pt idx="125">
                  <c:v>270</c:v>
                </c:pt>
                <c:pt idx="126">
                  <c:v>156</c:v>
                </c:pt>
                <c:pt idx="127">
                  <c:v>163</c:v>
                </c:pt>
                <c:pt idx="128">
                  <c:v>234</c:v>
                </c:pt>
                <c:pt idx="129">
                  <c:v>189</c:v>
                </c:pt>
                <c:pt idx="130">
                  <c:v>65</c:v>
                </c:pt>
                <c:pt idx="131">
                  <c:v>36</c:v>
                </c:pt>
                <c:pt idx="132">
                  <c:v>244</c:v>
                </c:pt>
                <c:pt idx="133">
                  <c:v>130</c:v>
                </c:pt>
                <c:pt idx="134">
                  <c:v>175</c:v>
                </c:pt>
                <c:pt idx="135">
                  <c:v>98</c:v>
                </c:pt>
                <c:pt idx="136">
                  <c:v>90</c:v>
                </c:pt>
                <c:pt idx="137">
                  <c:v>35</c:v>
                </c:pt>
                <c:pt idx="138">
                  <c:v>47</c:v>
                </c:pt>
                <c:pt idx="139">
                  <c:v>166</c:v>
                </c:pt>
                <c:pt idx="140">
                  <c:v>84</c:v>
                </c:pt>
                <c:pt idx="141">
                  <c:v>147</c:v>
                </c:pt>
                <c:pt idx="142">
                  <c:v>108</c:v>
                </c:pt>
                <c:pt idx="143">
                  <c:v>119</c:v>
                </c:pt>
                <c:pt idx="144">
                  <c:v>53</c:v>
                </c:pt>
                <c:pt idx="145">
                  <c:v>26</c:v>
                </c:pt>
                <c:pt idx="146">
                  <c:v>87</c:v>
                </c:pt>
                <c:pt idx="147">
                  <c:v>43</c:v>
                </c:pt>
                <c:pt idx="148">
                  <c:v>96</c:v>
                </c:pt>
                <c:pt idx="149">
                  <c:v>67</c:v>
                </c:pt>
                <c:pt idx="150">
                  <c:v>38</c:v>
                </c:pt>
                <c:pt idx="151">
                  <c:v>49</c:v>
                </c:pt>
                <c:pt idx="152">
                  <c:v>10</c:v>
                </c:pt>
                <c:pt idx="153">
                  <c:v>108</c:v>
                </c:pt>
                <c:pt idx="154">
                  <c:v>98</c:v>
                </c:pt>
                <c:pt idx="155">
                  <c:v>103</c:v>
                </c:pt>
                <c:pt idx="156">
                  <c:v>85</c:v>
                </c:pt>
                <c:pt idx="157">
                  <c:v>87</c:v>
                </c:pt>
                <c:pt idx="158">
                  <c:v>44</c:v>
                </c:pt>
                <c:pt idx="159">
                  <c:v>16</c:v>
                </c:pt>
                <c:pt idx="160">
                  <c:v>66</c:v>
                </c:pt>
                <c:pt idx="161">
                  <c:v>66</c:v>
                </c:pt>
                <c:pt idx="162">
                  <c:v>68</c:v>
                </c:pt>
                <c:pt idx="163">
                  <c:v>69</c:v>
                </c:pt>
                <c:pt idx="164">
                  <c:v>52</c:v>
                </c:pt>
                <c:pt idx="165">
                  <c:v>9</c:v>
                </c:pt>
                <c:pt idx="166">
                  <c:v>14</c:v>
                </c:pt>
                <c:pt idx="167">
                  <c:v>37</c:v>
                </c:pt>
                <c:pt idx="168">
                  <c:v>19</c:v>
                </c:pt>
                <c:pt idx="169">
                  <c:v>30</c:v>
                </c:pt>
                <c:pt idx="170">
                  <c:v>30</c:v>
                </c:pt>
                <c:pt idx="171">
                  <c:v>28</c:v>
                </c:pt>
                <c:pt idx="172">
                  <c:v>19</c:v>
                </c:pt>
                <c:pt idx="173">
                  <c:v>8</c:v>
                </c:pt>
                <c:pt idx="174">
                  <c:v>92</c:v>
                </c:pt>
                <c:pt idx="175">
                  <c:v>37</c:v>
                </c:pt>
                <c:pt idx="176">
                  <c:v>34</c:v>
                </c:pt>
                <c:pt idx="177">
                  <c:v>46</c:v>
                </c:pt>
                <c:pt idx="178">
                  <c:v>49</c:v>
                </c:pt>
                <c:pt idx="179">
                  <c:v>11</c:v>
                </c:pt>
                <c:pt idx="180">
                  <c:v>3</c:v>
                </c:pt>
                <c:pt idx="181">
                  <c:v>79</c:v>
                </c:pt>
                <c:pt idx="182">
                  <c:v>28</c:v>
                </c:pt>
                <c:pt idx="183">
                  <c:v>46</c:v>
                </c:pt>
                <c:pt idx="184">
                  <c:v>11</c:v>
                </c:pt>
                <c:pt idx="185">
                  <c:v>24</c:v>
                </c:pt>
                <c:pt idx="186">
                  <c:v>5</c:v>
                </c:pt>
                <c:pt idx="187">
                  <c:v>6</c:v>
                </c:pt>
                <c:pt idx="188">
                  <c:v>27</c:v>
                </c:pt>
                <c:pt idx="189">
                  <c:v>108</c:v>
                </c:pt>
                <c:pt idx="190">
                  <c:v>61</c:v>
                </c:pt>
                <c:pt idx="191">
                  <c:v>14</c:v>
                </c:pt>
                <c:pt idx="192">
                  <c:v>34</c:v>
                </c:pt>
                <c:pt idx="193">
                  <c:v>9</c:v>
                </c:pt>
                <c:pt idx="194">
                  <c:v>7</c:v>
                </c:pt>
                <c:pt idx="195">
                  <c:v>31</c:v>
                </c:pt>
                <c:pt idx="196">
                  <c:v>21</c:v>
                </c:pt>
                <c:pt idx="197">
                  <c:v>12</c:v>
                </c:pt>
                <c:pt idx="198">
                  <c:v>37</c:v>
                </c:pt>
                <c:pt idx="199">
                  <c:v>18</c:v>
                </c:pt>
                <c:pt idx="200">
                  <c:v>10</c:v>
                </c:pt>
                <c:pt idx="201">
                  <c:v>4</c:v>
                </c:pt>
                <c:pt idx="202">
                  <c:v>13</c:v>
                </c:pt>
                <c:pt idx="203">
                  <c:v>31</c:v>
                </c:pt>
                <c:pt idx="204">
                  <c:v>22</c:v>
                </c:pt>
                <c:pt idx="205">
                  <c:v>32</c:v>
                </c:pt>
                <c:pt idx="206">
                  <c:v>7</c:v>
                </c:pt>
                <c:pt idx="207">
                  <c:v>3</c:v>
                </c:pt>
                <c:pt idx="208">
                  <c:v>4</c:v>
                </c:pt>
                <c:pt idx="209">
                  <c:v>22</c:v>
                </c:pt>
                <c:pt idx="210">
                  <c:v>13</c:v>
                </c:pt>
                <c:pt idx="211">
                  <c:v>11</c:v>
                </c:pt>
                <c:pt idx="212">
                  <c:v>11</c:v>
                </c:pt>
                <c:pt idx="213">
                  <c:v>4</c:v>
                </c:pt>
                <c:pt idx="214">
                  <c:v>4</c:v>
                </c:pt>
                <c:pt idx="215">
                  <c:v>2</c:v>
                </c:pt>
                <c:pt idx="216">
                  <c:v>1</c:v>
                </c:pt>
                <c:pt idx="217">
                  <c:v>5</c:v>
                </c:pt>
                <c:pt idx="218">
                  <c:v>19</c:v>
                </c:pt>
                <c:pt idx="219">
                  <c:v>2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1</c:v>
                </c:pt>
                <c:pt idx="224">
                  <c:v>3</c:v>
                </c:pt>
                <c:pt idx="225">
                  <c:v>4</c:v>
                </c:pt>
                <c:pt idx="226">
                  <c:v>4</c:v>
                </c:pt>
                <c:pt idx="227">
                  <c:v>1</c:v>
                </c:pt>
                <c:pt idx="228">
                  <c:v>1</c:v>
                </c:pt>
                <c:pt idx="229">
                  <c:v>2</c:v>
                </c:pt>
                <c:pt idx="230">
                  <c:v>5</c:v>
                </c:pt>
                <c:pt idx="231">
                  <c:v>5</c:v>
                </c:pt>
                <c:pt idx="232">
                  <c:v>3</c:v>
                </c:pt>
                <c:pt idx="233">
                  <c:v>19</c:v>
                </c:pt>
                <c:pt idx="234">
                  <c:v>8</c:v>
                </c:pt>
                <c:pt idx="235">
                  <c:v>1</c:v>
                </c:pt>
                <c:pt idx="236">
                  <c:v>0</c:v>
                </c:pt>
                <c:pt idx="237">
                  <c:v>2</c:v>
                </c:pt>
                <c:pt idx="238">
                  <c:v>4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2</c:v>
                </c:pt>
                <c:pt idx="245">
                  <c:v>0</c:v>
                </c:pt>
                <c:pt idx="246">
                  <c:v>3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3</c:v>
                </c:pt>
                <c:pt idx="255">
                  <c:v>5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1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4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11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1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5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1</c:v>
                </c:pt>
                <c:pt idx="422">
                  <c:v>0</c:v>
                </c:pt>
                <c:pt idx="423">
                  <c:v>18</c:v>
                </c:pt>
                <c:pt idx="424">
                  <c:v>7</c:v>
                </c:pt>
                <c:pt idx="425">
                  <c:v>11</c:v>
                </c:pt>
                <c:pt idx="426">
                  <c:v>35</c:v>
                </c:pt>
                <c:pt idx="427">
                  <c:v>15</c:v>
                </c:pt>
                <c:pt idx="428">
                  <c:v>16</c:v>
                </c:pt>
                <c:pt idx="429">
                  <c:v>53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30</c:v>
                </c:pt>
                <c:pt idx="434">
                  <c:v>30</c:v>
                </c:pt>
                <c:pt idx="435">
                  <c:v>16</c:v>
                </c:pt>
                <c:pt idx="436">
                  <c:v>19</c:v>
                </c:pt>
                <c:pt idx="437">
                  <c:v>17</c:v>
                </c:pt>
                <c:pt idx="438">
                  <c:v>13</c:v>
                </c:pt>
                <c:pt idx="439">
                  <c:v>15</c:v>
                </c:pt>
                <c:pt idx="440">
                  <c:v>43</c:v>
                </c:pt>
                <c:pt idx="441">
                  <c:v>32</c:v>
                </c:pt>
                <c:pt idx="442">
                  <c:v>25</c:v>
                </c:pt>
                <c:pt idx="443">
                  <c:v>56</c:v>
                </c:pt>
                <c:pt idx="444">
                  <c:v>85</c:v>
                </c:pt>
                <c:pt idx="445">
                  <c:v>26</c:v>
                </c:pt>
                <c:pt idx="446">
                  <c:v>9</c:v>
                </c:pt>
                <c:pt idx="447">
                  <c:v>50</c:v>
                </c:pt>
                <c:pt idx="448">
                  <c:v>24</c:v>
                </c:pt>
                <c:pt idx="449">
                  <c:v>42</c:v>
                </c:pt>
                <c:pt idx="450">
                  <c:v>29</c:v>
                </c:pt>
                <c:pt idx="451">
                  <c:v>53</c:v>
                </c:pt>
                <c:pt idx="452">
                  <c:v>5</c:v>
                </c:pt>
                <c:pt idx="453">
                  <c:v>7</c:v>
                </c:pt>
                <c:pt idx="454">
                  <c:v>44</c:v>
                </c:pt>
                <c:pt idx="455">
                  <c:v>15</c:v>
                </c:pt>
                <c:pt idx="456">
                  <c:v>31</c:v>
                </c:pt>
                <c:pt idx="457">
                  <c:v>31</c:v>
                </c:pt>
                <c:pt idx="458">
                  <c:v>14</c:v>
                </c:pt>
                <c:pt idx="459">
                  <c:v>38</c:v>
                </c:pt>
                <c:pt idx="460">
                  <c:v>7</c:v>
                </c:pt>
                <c:pt idx="461">
                  <c:v>31</c:v>
                </c:pt>
                <c:pt idx="462">
                  <c:v>22</c:v>
                </c:pt>
                <c:pt idx="463">
                  <c:v>18</c:v>
                </c:pt>
                <c:pt idx="464">
                  <c:v>31</c:v>
                </c:pt>
                <c:pt idx="465">
                  <c:v>30</c:v>
                </c:pt>
                <c:pt idx="466">
                  <c:v>6</c:v>
                </c:pt>
                <c:pt idx="467">
                  <c:v>1</c:v>
                </c:pt>
                <c:pt idx="468">
                  <c:v>17</c:v>
                </c:pt>
                <c:pt idx="469">
                  <c:v>27</c:v>
                </c:pt>
                <c:pt idx="470">
                  <c:v>17</c:v>
                </c:pt>
                <c:pt idx="471">
                  <c:v>7</c:v>
                </c:pt>
                <c:pt idx="472">
                  <c:v>12</c:v>
                </c:pt>
                <c:pt idx="473">
                  <c:v>2</c:v>
                </c:pt>
                <c:pt idx="474">
                  <c:v>3</c:v>
                </c:pt>
                <c:pt idx="475">
                  <c:v>16</c:v>
                </c:pt>
                <c:pt idx="476">
                  <c:v>8</c:v>
                </c:pt>
                <c:pt idx="477">
                  <c:v>3</c:v>
                </c:pt>
                <c:pt idx="478">
                  <c:v>5</c:v>
                </c:pt>
                <c:pt idx="479">
                  <c:v>1</c:v>
                </c:pt>
                <c:pt idx="480">
                  <c:v>5</c:v>
                </c:pt>
                <c:pt idx="481">
                  <c:v>0</c:v>
                </c:pt>
                <c:pt idx="482">
                  <c:v>10</c:v>
                </c:pt>
                <c:pt idx="483">
                  <c:v>6</c:v>
                </c:pt>
                <c:pt idx="484">
                  <c:v>6</c:v>
                </c:pt>
                <c:pt idx="485">
                  <c:v>2</c:v>
                </c:pt>
                <c:pt idx="486">
                  <c:v>10</c:v>
                </c:pt>
                <c:pt idx="487">
                  <c:v>2</c:v>
                </c:pt>
                <c:pt idx="488">
                  <c:v>0</c:v>
                </c:pt>
                <c:pt idx="489">
                  <c:v>4</c:v>
                </c:pt>
                <c:pt idx="490">
                  <c:v>6</c:v>
                </c:pt>
                <c:pt idx="491">
                  <c:v>7</c:v>
                </c:pt>
                <c:pt idx="492">
                  <c:v>7</c:v>
                </c:pt>
                <c:pt idx="493">
                  <c:v>6</c:v>
                </c:pt>
                <c:pt idx="494">
                  <c:v>1</c:v>
                </c:pt>
                <c:pt idx="495">
                  <c:v>2</c:v>
                </c:pt>
                <c:pt idx="496">
                  <c:v>1</c:v>
                </c:pt>
                <c:pt idx="497">
                  <c:v>8</c:v>
                </c:pt>
                <c:pt idx="498">
                  <c:v>4</c:v>
                </c:pt>
                <c:pt idx="499">
                  <c:v>3</c:v>
                </c:pt>
                <c:pt idx="500">
                  <c:v>8</c:v>
                </c:pt>
                <c:pt idx="501">
                  <c:v>1</c:v>
                </c:pt>
                <c:pt idx="502">
                  <c:v>4</c:v>
                </c:pt>
                <c:pt idx="503">
                  <c:v>21</c:v>
                </c:pt>
                <c:pt idx="504">
                  <c:v>13</c:v>
                </c:pt>
                <c:pt idx="505">
                  <c:v>11</c:v>
                </c:pt>
                <c:pt idx="506">
                  <c:v>22</c:v>
                </c:pt>
                <c:pt idx="507">
                  <c:v>16</c:v>
                </c:pt>
                <c:pt idx="508">
                  <c:v>32</c:v>
                </c:pt>
                <c:pt idx="509">
                  <c:v>6</c:v>
                </c:pt>
                <c:pt idx="510">
                  <c:v>44</c:v>
                </c:pt>
                <c:pt idx="511">
                  <c:v>41</c:v>
                </c:pt>
                <c:pt idx="512">
                  <c:v>39</c:v>
                </c:pt>
                <c:pt idx="513">
                  <c:v>25</c:v>
                </c:pt>
                <c:pt idx="514">
                  <c:v>48</c:v>
                </c:pt>
                <c:pt idx="515">
                  <c:v>4</c:v>
                </c:pt>
                <c:pt idx="516">
                  <c:v>6</c:v>
                </c:pt>
                <c:pt idx="517">
                  <c:v>42</c:v>
                </c:pt>
                <c:pt idx="518">
                  <c:v>53</c:v>
                </c:pt>
                <c:pt idx="519">
                  <c:v>33</c:v>
                </c:pt>
                <c:pt idx="520">
                  <c:v>21</c:v>
                </c:pt>
                <c:pt idx="521">
                  <c:v>57</c:v>
                </c:pt>
                <c:pt idx="522">
                  <c:v>20</c:v>
                </c:pt>
                <c:pt idx="523">
                  <c:v>14</c:v>
                </c:pt>
                <c:pt idx="524">
                  <c:v>88</c:v>
                </c:pt>
                <c:pt idx="525">
                  <c:v>51</c:v>
                </c:pt>
                <c:pt idx="526">
                  <c:v>29</c:v>
                </c:pt>
                <c:pt idx="527">
                  <c:v>40</c:v>
                </c:pt>
                <c:pt idx="528">
                  <c:v>65</c:v>
                </c:pt>
                <c:pt idx="529">
                  <c:v>20</c:v>
                </c:pt>
                <c:pt idx="530">
                  <c:v>16</c:v>
                </c:pt>
                <c:pt idx="531">
                  <c:v>61</c:v>
                </c:pt>
                <c:pt idx="532">
                  <c:v>54</c:v>
                </c:pt>
                <c:pt idx="533">
                  <c:v>50</c:v>
                </c:pt>
                <c:pt idx="534">
                  <c:v>81</c:v>
                </c:pt>
                <c:pt idx="535">
                  <c:v>38</c:v>
                </c:pt>
                <c:pt idx="536">
                  <c:v>8</c:v>
                </c:pt>
                <c:pt idx="537">
                  <c:v>13</c:v>
                </c:pt>
                <c:pt idx="538">
                  <c:v>38</c:v>
                </c:pt>
                <c:pt idx="539">
                  <c:v>59</c:v>
                </c:pt>
                <c:pt idx="540">
                  <c:v>41</c:v>
                </c:pt>
                <c:pt idx="541">
                  <c:v>26</c:v>
                </c:pt>
                <c:pt idx="542">
                  <c:v>37</c:v>
                </c:pt>
                <c:pt idx="543" formatCode="General">
                  <c:v>7</c:v>
                </c:pt>
                <c:pt idx="544" formatCode="General">
                  <c:v>5</c:v>
                </c:pt>
                <c:pt idx="545" formatCode="General">
                  <c:v>35</c:v>
                </c:pt>
                <c:pt idx="546" formatCode="General">
                  <c:v>33</c:v>
                </c:pt>
                <c:pt idx="547" formatCode="General">
                  <c:v>36</c:v>
                </c:pt>
                <c:pt idx="548" formatCode="General">
                  <c:v>19</c:v>
                </c:pt>
                <c:pt idx="549" formatCode="General">
                  <c:v>12</c:v>
                </c:pt>
                <c:pt idx="550" formatCode="General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52</c:f>
              <c:numCache>
                <c:formatCode>m/d/yyyy</c:formatCode>
                <c:ptCount val="5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</c:numCache>
            </c:numRef>
          </c:cat>
          <c:val>
            <c:numRef>
              <c:f>Sheet1!$B$2:$B$552</c:f>
              <c:numCache>
                <c:formatCode>#\ ##0_ ;\-#\ ##0\ </c:formatCode>
                <c:ptCount val="551"/>
                <c:pt idx="0">
                  <c:v>3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4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4</c:v>
                </c:pt>
                <c:pt idx="20">
                  <c:v>5</c:v>
                </c:pt>
                <c:pt idx="21">
                  <c:v>7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6</c:v>
                </c:pt>
                <c:pt idx="28">
                  <c:v>26</c:v>
                </c:pt>
                <c:pt idx="29">
                  <c:v>10</c:v>
                </c:pt>
                <c:pt idx="30">
                  <c:v>30</c:v>
                </c:pt>
                <c:pt idx="31">
                  <c:v>97</c:v>
                </c:pt>
                <c:pt idx="32">
                  <c:v>31</c:v>
                </c:pt>
                <c:pt idx="33">
                  <c:v>31</c:v>
                </c:pt>
                <c:pt idx="34">
                  <c:v>99</c:v>
                </c:pt>
                <c:pt idx="35">
                  <c:v>51</c:v>
                </c:pt>
                <c:pt idx="36">
                  <c:v>43</c:v>
                </c:pt>
                <c:pt idx="37">
                  <c:v>86</c:v>
                </c:pt>
                <c:pt idx="38">
                  <c:v>93</c:v>
                </c:pt>
                <c:pt idx="39">
                  <c:v>51</c:v>
                </c:pt>
                <c:pt idx="40">
                  <c:v>26</c:v>
                </c:pt>
                <c:pt idx="41">
                  <c:v>178</c:v>
                </c:pt>
                <c:pt idx="42">
                  <c:v>163</c:v>
                </c:pt>
                <c:pt idx="43">
                  <c:v>199</c:v>
                </c:pt>
                <c:pt idx="44">
                  <c:v>212</c:v>
                </c:pt>
                <c:pt idx="45">
                  <c:v>216</c:v>
                </c:pt>
                <c:pt idx="46">
                  <c:v>107</c:v>
                </c:pt>
                <c:pt idx="47">
                  <c:v>50</c:v>
                </c:pt>
                <c:pt idx="48">
                  <c:v>201</c:v>
                </c:pt>
                <c:pt idx="49">
                  <c:v>203</c:v>
                </c:pt>
                <c:pt idx="50">
                  <c:v>274</c:v>
                </c:pt>
                <c:pt idx="51">
                  <c:v>241</c:v>
                </c:pt>
                <c:pt idx="52">
                  <c:v>345</c:v>
                </c:pt>
                <c:pt idx="53">
                  <c:v>190</c:v>
                </c:pt>
                <c:pt idx="54">
                  <c:v>90</c:v>
                </c:pt>
                <c:pt idx="55">
                  <c:v>385</c:v>
                </c:pt>
                <c:pt idx="56">
                  <c:v>423</c:v>
                </c:pt>
                <c:pt idx="57">
                  <c:v>138</c:v>
                </c:pt>
                <c:pt idx="58">
                  <c:v>485</c:v>
                </c:pt>
                <c:pt idx="59">
                  <c:v>347</c:v>
                </c:pt>
                <c:pt idx="60">
                  <c:v>187</c:v>
                </c:pt>
                <c:pt idx="61">
                  <c:v>120</c:v>
                </c:pt>
                <c:pt idx="62">
                  <c:v>317</c:v>
                </c:pt>
                <c:pt idx="63">
                  <c:v>245</c:v>
                </c:pt>
                <c:pt idx="64">
                  <c:v>346</c:v>
                </c:pt>
                <c:pt idx="65">
                  <c:v>294</c:v>
                </c:pt>
                <c:pt idx="66">
                  <c:v>247</c:v>
                </c:pt>
                <c:pt idx="67">
                  <c:v>121</c:v>
                </c:pt>
                <c:pt idx="68">
                  <c:v>51</c:v>
                </c:pt>
                <c:pt idx="69">
                  <c:v>208</c:v>
                </c:pt>
                <c:pt idx="70">
                  <c:v>213</c:v>
                </c:pt>
                <c:pt idx="71">
                  <c:v>276</c:v>
                </c:pt>
                <c:pt idx="72">
                  <c:v>248</c:v>
                </c:pt>
                <c:pt idx="73">
                  <c:v>211</c:v>
                </c:pt>
                <c:pt idx="74">
                  <c:v>77</c:v>
                </c:pt>
                <c:pt idx="75">
                  <c:v>34</c:v>
                </c:pt>
                <c:pt idx="76">
                  <c:v>200</c:v>
                </c:pt>
                <c:pt idx="77">
                  <c:v>52</c:v>
                </c:pt>
                <c:pt idx="78">
                  <c:v>169</c:v>
                </c:pt>
                <c:pt idx="79">
                  <c:v>139</c:v>
                </c:pt>
                <c:pt idx="80">
                  <c:v>128</c:v>
                </c:pt>
                <c:pt idx="81">
                  <c:v>41</c:v>
                </c:pt>
                <c:pt idx="82">
                  <c:v>20</c:v>
                </c:pt>
                <c:pt idx="83">
                  <c:v>151</c:v>
                </c:pt>
                <c:pt idx="84">
                  <c:v>112</c:v>
                </c:pt>
                <c:pt idx="85">
                  <c:v>97</c:v>
                </c:pt>
                <c:pt idx="86">
                  <c:v>59</c:v>
                </c:pt>
                <c:pt idx="87">
                  <c:v>84</c:v>
                </c:pt>
                <c:pt idx="88">
                  <c:v>23</c:v>
                </c:pt>
                <c:pt idx="89">
                  <c:v>16</c:v>
                </c:pt>
                <c:pt idx="90">
                  <c:v>115</c:v>
                </c:pt>
                <c:pt idx="91">
                  <c:v>92</c:v>
                </c:pt>
                <c:pt idx="92">
                  <c:v>74</c:v>
                </c:pt>
                <c:pt idx="93">
                  <c:v>63</c:v>
                </c:pt>
                <c:pt idx="94">
                  <c:v>93</c:v>
                </c:pt>
                <c:pt idx="95">
                  <c:v>42</c:v>
                </c:pt>
                <c:pt idx="96">
                  <c:v>28</c:v>
                </c:pt>
                <c:pt idx="97">
                  <c:v>122</c:v>
                </c:pt>
                <c:pt idx="98">
                  <c:v>80</c:v>
                </c:pt>
                <c:pt idx="99">
                  <c:v>66</c:v>
                </c:pt>
                <c:pt idx="100">
                  <c:v>63</c:v>
                </c:pt>
                <c:pt idx="101">
                  <c:v>80</c:v>
                </c:pt>
                <c:pt idx="102">
                  <c:v>21</c:v>
                </c:pt>
                <c:pt idx="103">
                  <c:v>18</c:v>
                </c:pt>
                <c:pt idx="104">
                  <c:v>142</c:v>
                </c:pt>
                <c:pt idx="105">
                  <c:v>73</c:v>
                </c:pt>
                <c:pt idx="106">
                  <c:v>98</c:v>
                </c:pt>
                <c:pt idx="107">
                  <c:v>55</c:v>
                </c:pt>
                <c:pt idx="108">
                  <c:v>89</c:v>
                </c:pt>
                <c:pt idx="109">
                  <c:v>32</c:v>
                </c:pt>
                <c:pt idx="110">
                  <c:v>29</c:v>
                </c:pt>
                <c:pt idx="111">
                  <c:v>168</c:v>
                </c:pt>
                <c:pt idx="112">
                  <c:v>117</c:v>
                </c:pt>
                <c:pt idx="113">
                  <c:v>127</c:v>
                </c:pt>
                <c:pt idx="114">
                  <c:v>32</c:v>
                </c:pt>
                <c:pt idx="115">
                  <c:v>51</c:v>
                </c:pt>
                <c:pt idx="116">
                  <c:v>54</c:v>
                </c:pt>
                <c:pt idx="117">
                  <c:v>49</c:v>
                </c:pt>
                <c:pt idx="118">
                  <c:v>198</c:v>
                </c:pt>
                <c:pt idx="119">
                  <c:v>150</c:v>
                </c:pt>
                <c:pt idx="120">
                  <c:v>115</c:v>
                </c:pt>
                <c:pt idx="121">
                  <c:v>93</c:v>
                </c:pt>
                <c:pt idx="122">
                  <c:v>35</c:v>
                </c:pt>
                <c:pt idx="123">
                  <c:v>67</c:v>
                </c:pt>
                <c:pt idx="124">
                  <c:v>40</c:v>
                </c:pt>
                <c:pt idx="125">
                  <c:v>303</c:v>
                </c:pt>
                <c:pt idx="126">
                  <c:v>151</c:v>
                </c:pt>
                <c:pt idx="127">
                  <c:v>122</c:v>
                </c:pt>
                <c:pt idx="128">
                  <c:v>110</c:v>
                </c:pt>
                <c:pt idx="129">
                  <c:v>135</c:v>
                </c:pt>
                <c:pt idx="130">
                  <c:v>60</c:v>
                </c:pt>
                <c:pt idx="131">
                  <c:v>27</c:v>
                </c:pt>
                <c:pt idx="132">
                  <c:v>248</c:v>
                </c:pt>
                <c:pt idx="133">
                  <c:v>101</c:v>
                </c:pt>
                <c:pt idx="134">
                  <c:v>113</c:v>
                </c:pt>
                <c:pt idx="135">
                  <c:v>59</c:v>
                </c:pt>
                <c:pt idx="136">
                  <c:v>71</c:v>
                </c:pt>
                <c:pt idx="137">
                  <c:v>36</c:v>
                </c:pt>
                <c:pt idx="138">
                  <c:v>29</c:v>
                </c:pt>
                <c:pt idx="139">
                  <c:v>133</c:v>
                </c:pt>
                <c:pt idx="140">
                  <c:v>77</c:v>
                </c:pt>
                <c:pt idx="141">
                  <c:v>73</c:v>
                </c:pt>
                <c:pt idx="142">
                  <c:v>70</c:v>
                </c:pt>
                <c:pt idx="143">
                  <c:v>83</c:v>
                </c:pt>
                <c:pt idx="144">
                  <c:v>28</c:v>
                </c:pt>
                <c:pt idx="145">
                  <c:v>14</c:v>
                </c:pt>
                <c:pt idx="146">
                  <c:v>92</c:v>
                </c:pt>
                <c:pt idx="147">
                  <c:v>79</c:v>
                </c:pt>
                <c:pt idx="148">
                  <c:v>60</c:v>
                </c:pt>
                <c:pt idx="149">
                  <c:v>36</c:v>
                </c:pt>
                <c:pt idx="150">
                  <c:v>51</c:v>
                </c:pt>
                <c:pt idx="151">
                  <c:v>31</c:v>
                </c:pt>
                <c:pt idx="152">
                  <c:v>16</c:v>
                </c:pt>
                <c:pt idx="153">
                  <c:v>83</c:v>
                </c:pt>
                <c:pt idx="154">
                  <c:v>77</c:v>
                </c:pt>
                <c:pt idx="155">
                  <c:v>60</c:v>
                </c:pt>
                <c:pt idx="156">
                  <c:v>48</c:v>
                </c:pt>
                <c:pt idx="157">
                  <c:v>54</c:v>
                </c:pt>
                <c:pt idx="158">
                  <c:v>13</c:v>
                </c:pt>
                <c:pt idx="159">
                  <c:v>18</c:v>
                </c:pt>
                <c:pt idx="160">
                  <c:v>76</c:v>
                </c:pt>
                <c:pt idx="161">
                  <c:v>22</c:v>
                </c:pt>
                <c:pt idx="162">
                  <c:v>34</c:v>
                </c:pt>
                <c:pt idx="163">
                  <c:v>42</c:v>
                </c:pt>
                <c:pt idx="164">
                  <c:v>40</c:v>
                </c:pt>
                <c:pt idx="165">
                  <c:v>15</c:v>
                </c:pt>
                <c:pt idx="166">
                  <c:v>18</c:v>
                </c:pt>
                <c:pt idx="167">
                  <c:v>67</c:v>
                </c:pt>
                <c:pt idx="168">
                  <c:v>34</c:v>
                </c:pt>
                <c:pt idx="169">
                  <c:v>37</c:v>
                </c:pt>
                <c:pt idx="170">
                  <c:v>35</c:v>
                </c:pt>
                <c:pt idx="171">
                  <c:v>41</c:v>
                </c:pt>
                <c:pt idx="172">
                  <c:v>8</c:v>
                </c:pt>
                <c:pt idx="173">
                  <c:v>23</c:v>
                </c:pt>
                <c:pt idx="174">
                  <c:v>80</c:v>
                </c:pt>
                <c:pt idx="175">
                  <c:v>47</c:v>
                </c:pt>
                <c:pt idx="176">
                  <c:v>37</c:v>
                </c:pt>
                <c:pt idx="177">
                  <c:v>35</c:v>
                </c:pt>
                <c:pt idx="178">
                  <c:v>47</c:v>
                </c:pt>
                <c:pt idx="179">
                  <c:v>12</c:v>
                </c:pt>
                <c:pt idx="180">
                  <c:v>10</c:v>
                </c:pt>
                <c:pt idx="181">
                  <c:v>67</c:v>
                </c:pt>
                <c:pt idx="182">
                  <c:v>43</c:v>
                </c:pt>
                <c:pt idx="183">
                  <c:v>57</c:v>
                </c:pt>
                <c:pt idx="184">
                  <c:v>48</c:v>
                </c:pt>
                <c:pt idx="185">
                  <c:v>36</c:v>
                </c:pt>
                <c:pt idx="186">
                  <c:v>16</c:v>
                </c:pt>
                <c:pt idx="187">
                  <c:v>14</c:v>
                </c:pt>
                <c:pt idx="188">
                  <c:v>65</c:v>
                </c:pt>
                <c:pt idx="189">
                  <c:v>40</c:v>
                </c:pt>
                <c:pt idx="190">
                  <c:v>30</c:v>
                </c:pt>
                <c:pt idx="191">
                  <c:v>30</c:v>
                </c:pt>
                <c:pt idx="192">
                  <c:v>20</c:v>
                </c:pt>
                <c:pt idx="193">
                  <c:v>12</c:v>
                </c:pt>
                <c:pt idx="194">
                  <c:v>7</c:v>
                </c:pt>
                <c:pt idx="195">
                  <c:v>41</c:v>
                </c:pt>
                <c:pt idx="196">
                  <c:v>27</c:v>
                </c:pt>
                <c:pt idx="197">
                  <c:v>27</c:v>
                </c:pt>
                <c:pt idx="198">
                  <c:v>16</c:v>
                </c:pt>
                <c:pt idx="199">
                  <c:v>24</c:v>
                </c:pt>
                <c:pt idx="200">
                  <c:v>2</c:v>
                </c:pt>
                <c:pt idx="201">
                  <c:v>5</c:v>
                </c:pt>
                <c:pt idx="202">
                  <c:v>39</c:v>
                </c:pt>
                <c:pt idx="203">
                  <c:v>19</c:v>
                </c:pt>
                <c:pt idx="204">
                  <c:v>11</c:v>
                </c:pt>
                <c:pt idx="205">
                  <c:v>10</c:v>
                </c:pt>
                <c:pt idx="206">
                  <c:v>18</c:v>
                </c:pt>
                <c:pt idx="207">
                  <c:v>3</c:v>
                </c:pt>
                <c:pt idx="208">
                  <c:v>1</c:v>
                </c:pt>
                <c:pt idx="209">
                  <c:v>25</c:v>
                </c:pt>
                <c:pt idx="210">
                  <c:v>20</c:v>
                </c:pt>
                <c:pt idx="211">
                  <c:v>14</c:v>
                </c:pt>
                <c:pt idx="212">
                  <c:v>13</c:v>
                </c:pt>
                <c:pt idx="213">
                  <c:v>5</c:v>
                </c:pt>
                <c:pt idx="214">
                  <c:v>4</c:v>
                </c:pt>
                <c:pt idx="215">
                  <c:v>2</c:v>
                </c:pt>
                <c:pt idx="216">
                  <c:v>8</c:v>
                </c:pt>
                <c:pt idx="217">
                  <c:v>22</c:v>
                </c:pt>
                <c:pt idx="218">
                  <c:v>18</c:v>
                </c:pt>
                <c:pt idx="219">
                  <c:v>17</c:v>
                </c:pt>
                <c:pt idx="220">
                  <c:v>8</c:v>
                </c:pt>
                <c:pt idx="221">
                  <c:v>6</c:v>
                </c:pt>
                <c:pt idx="222">
                  <c:v>1</c:v>
                </c:pt>
                <c:pt idx="223">
                  <c:v>9</c:v>
                </c:pt>
                <c:pt idx="224">
                  <c:v>8</c:v>
                </c:pt>
                <c:pt idx="225">
                  <c:v>5</c:v>
                </c:pt>
                <c:pt idx="226">
                  <c:v>7</c:v>
                </c:pt>
                <c:pt idx="227">
                  <c:v>7</c:v>
                </c:pt>
                <c:pt idx="228">
                  <c:v>1</c:v>
                </c:pt>
                <c:pt idx="229">
                  <c:v>1</c:v>
                </c:pt>
                <c:pt idx="230">
                  <c:v>13</c:v>
                </c:pt>
                <c:pt idx="231">
                  <c:v>7</c:v>
                </c:pt>
                <c:pt idx="232">
                  <c:v>7</c:v>
                </c:pt>
                <c:pt idx="233">
                  <c:v>4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8</c:v>
                </c:pt>
                <c:pt idx="238">
                  <c:v>9</c:v>
                </c:pt>
                <c:pt idx="239">
                  <c:v>4</c:v>
                </c:pt>
                <c:pt idx="240">
                  <c:v>3</c:v>
                </c:pt>
                <c:pt idx="241">
                  <c:v>6</c:v>
                </c:pt>
                <c:pt idx="242">
                  <c:v>0</c:v>
                </c:pt>
                <c:pt idx="243">
                  <c:v>1</c:v>
                </c:pt>
                <c:pt idx="244">
                  <c:v>4</c:v>
                </c:pt>
                <c:pt idx="245">
                  <c:v>2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1</c:v>
                </c:pt>
                <c:pt idx="250">
                  <c:v>0</c:v>
                </c:pt>
                <c:pt idx="251">
                  <c:v>3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5</c:v>
                </c:pt>
                <c:pt idx="259">
                  <c:v>5</c:v>
                </c:pt>
                <c:pt idx="260">
                  <c:v>2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1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5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1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4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5</c:v>
                </c:pt>
                <c:pt idx="392">
                  <c:v>2</c:v>
                </c:pt>
                <c:pt idx="393">
                  <c:v>7</c:v>
                </c:pt>
                <c:pt idx="394">
                  <c:v>3</c:v>
                </c:pt>
                <c:pt idx="395">
                  <c:v>3</c:v>
                </c:pt>
                <c:pt idx="396">
                  <c:v>0</c:v>
                </c:pt>
                <c:pt idx="397">
                  <c:v>0</c:v>
                </c:pt>
                <c:pt idx="398">
                  <c:v>4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7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8</c:v>
                </c:pt>
                <c:pt idx="414">
                  <c:v>11</c:v>
                </c:pt>
                <c:pt idx="415">
                  <c:v>7</c:v>
                </c:pt>
                <c:pt idx="416">
                  <c:v>11</c:v>
                </c:pt>
                <c:pt idx="417">
                  <c:v>0</c:v>
                </c:pt>
                <c:pt idx="418">
                  <c:v>4</c:v>
                </c:pt>
                <c:pt idx="419">
                  <c:v>20</c:v>
                </c:pt>
                <c:pt idx="420">
                  <c:v>6</c:v>
                </c:pt>
                <c:pt idx="421">
                  <c:v>18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1</c:v>
                </c:pt>
                <c:pt idx="427">
                  <c:v>26</c:v>
                </c:pt>
                <c:pt idx="428">
                  <c:v>21</c:v>
                </c:pt>
                <c:pt idx="429">
                  <c:v>25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4</c:v>
                </c:pt>
                <c:pt idx="434">
                  <c:v>28</c:v>
                </c:pt>
                <c:pt idx="435">
                  <c:v>31</c:v>
                </c:pt>
                <c:pt idx="436">
                  <c:v>38</c:v>
                </c:pt>
                <c:pt idx="437">
                  <c:v>34</c:v>
                </c:pt>
                <c:pt idx="438">
                  <c:v>20</c:v>
                </c:pt>
                <c:pt idx="439">
                  <c:v>14</c:v>
                </c:pt>
                <c:pt idx="440">
                  <c:v>58</c:v>
                </c:pt>
                <c:pt idx="441">
                  <c:v>35</c:v>
                </c:pt>
                <c:pt idx="442">
                  <c:v>14</c:v>
                </c:pt>
                <c:pt idx="443">
                  <c:v>43</c:v>
                </c:pt>
                <c:pt idx="444">
                  <c:v>52</c:v>
                </c:pt>
                <c:pt idx="445">
                  <c:v>13</c:v>
                </c:pt>
                <c:pt idx="446">
                  <c:v>7</c:v>
                </c:pt>
                <c:pt idx="447">
                  <c:v>74</c:v>
                </c:pt>
                <c:pt idx="448">
                  <c:v>44</c:v>
                </c:pt>
                <c:pt idx="449">
                  <c:v>50</c:v>
                </c:pt>
                <c:pt idx="450">
                  <c:v>49</c:v>
                </c:pt>
                <c:pt idx="451">
                  <c:v>51</c:v>
                </c:pt>
                <c:pt idx="452">
                  <c:v>22</c:v>
                </c:pt>
                <c:pt idx="453">
                  <c:v>7</c:v>
                </c:pt>
                <c:pt idx="454">
                  <c:v>45</c:v>
                </c:pt>
                <c:pt idx="455">
                  <c:v>48</c:v>
                </c:pt>
                <c:pt idx="456">
                  <c:v>43</c:v>
                </c:pt>
                <c:pt idx="457">
                  <c:v>33</c:v>
                </c:pt>
                <c:pt idx="458">
                  <c:v>30</c:v>
                </c:pt>
                <c:pt idx="459">
                  <c:v>21</c:v>
                </c:pt>
                <c:pt idx="460">
                  <c:v>10</c:v>
                </c:pt>
                <c:pt idx="461">
                  <c:v>51</c:v>
                </c:pt>
                <c:pt idx="462">
                  <c:v>36</c:v>
                </c:pt>
                <c:pt idx="463">
                  <c:v>35</c:v>
                </c:pt>
                <c:pt idx="464">
                  <c:v>26</c:v>
                </c:pt>
                <c:pt idx="465">
                  <c:v>19</c:v>
                </c:pt>
                <c:pt idx="466">
                  <c:v>13</c:v>
                </c:pt>
                <c:pt idx="467">
                  <c:v>9</c:v>
                </c:pt>
                <c:pt idx="468">
                  <c:v>35</c:v>
                </c:pt>
                <c:pt idx="469">
                  <c:v>37</c:v>
                </c:pt>
                <c:pt idx="470">
                  <c:v>28</c:v>
                </c:pt>
                <c:pt idx="471">
                  <c:v>18</c:v>
                </c:pt>
                <c:pt idx="472">
                  <c:v>16</c:v>
                </c:pt>
                <c:pt idx="473">
                  <c:v>8</c:v>
                </c:pt>
                <c:pt idx="474">
                  <c:v>10</c:v>
                </c:pt>
                <c:pt idx="475">
                  <c:v>28</c:v>
                </c:pt>
                <c:pt idx="476">
                  <c:v>13</c:v>
                </c:pt>
                <c:pt idx="477">
                  <c:v>9</c:v>
                </c:pt>
                <c:pt idx="478">
                  <c:v>4</c:v>
                </c:pt>
                <c:pt idx="479">
                  <c:v>7</c:v>
                </c:pt>
                <c:pt idx="480">
                  <c:v>3</c:v>
                </c:pt>
                <c:pt idx="481">
                  <c:v>5</c:v>
                </c:pt>
                <c:pt idx="482">
                  <c:v>10</c:v>
                </c:pt>
                <c:pt idx="483">
                  <c:v>17</c:v>
                </c:pt>
                <c:pt idx="484">
                  <c:v>10</c:v>
                </c:pt>
                <c:pt idx="485">
                  <c:v>10</c:v>
                </c:pt>
                <c:pt idx="486">
                  <c:v>6</c:v>
                </c:pt>
                <c:pt idx="487">
                  <c:v>1</c:v>
                </c:pt>
                <c:pt idx="488">
                  <c:v>4</c:v>
                </c:pt>
                <c:pt idx="489">
                  <c:v>20</c:v>
                </c:pt>
                <c:pt idx="490">
                  <c:v>14</c:v>
                </c:pt>
                <c:pt idx="491">
                  <c:v>5</c:v>
                </c:pt>
                <c:pt idx="492">
                  <c:v>9</c:v>
                </c:pt>
                <c:pt idx="493">
                  <c:v>11</c:v>
                </c:pt>
                <c:pt idx="494">
                  <c:v>3</c:v>
                </c:pt>
                <c:pt idx="495">
                  <c:v>3</c:v>
                </c:pt>
                <c:pt idx="496">
                  <c:v>19</c:v>
                </c:pt>
                <c:pt idx="497">
                  <c:v>11</c:v>
                </c:pt>
                <c:pt idx="498">
                  <c:v>9</c:v>
                </c:pt>
                <c:pt idx="499">
                  <c:v>13</c:v>
                </c:pt>
                <c:pt idx="500">
                  <c:v>13</c:v>
                </c:pt>
                <c:pt idx="501">
                  <c:v>6</c:v>
                </c:pt>
                <c:pt idx="502">
                  <c:v>11</c:v>
                </c:pt>
                <c:pt idx="503">
                  <c:v>47</c:v>
                </c:pt>
                <c:pt idx="504">
                  <c:v>35</c:v>
                </c:pt>
                <c:pt idx="505">
                  <c:v>42</c:v>
                </c:pt>
                <c:pt idx="506">
                  <c:v>48</c:v>
                </c:pt>
                <c:pt idx="507">
                  <c:v>68</c:v>
                </c:pt>
                <c:pt idx="508">
                  <c:v>20</c:v>
                </c:pt>
                <c:pt idx="509">
                  <c:v>16</c:v>
                </c:pt>
                <c:pt idx="510">
                  <c:v>95</c:v>
                </c:pt>
                <c:pt idx="511">
                  <c:v>104</c:v>
                </c:pt>
                <c:pt idx="512">
                  <c:v>100</c:v>
                </c:pt>
                <c:pt idx="513">
                  <c:v>59</c:v>
                </c:pt>
                <c:pt idx="514">
                  <c:v>74</c:v>
                </c:pt>
                <c:pt idx="515">
                  <c:v>30</c:v>
                </c:pt>
                <c:pt idx="516">
                  <c:v>31</c:v>
                </c:pt>
                <c:pt idx="517">
                  <c:v>117</c:v>
                </c:pt>
                <c:pt idx="518">
                  <c:v>117</c:v>
                </c:pt>
                <c:pt idx="519">
                  <c:v>83</c:v>
                </c:pt>
                <c:pt idx="520">
                  <c:v>71</c:v>
                </c:pt>
                <c:pt idx="521">
                  <c:v>84</c:v>
                </c:pt>
                <c:pt idx="522">
                  <c:v>32</c:v>
                </c:pt>
                <c:pt idx="523">
                  <c:v>25</c:v>
                </c:pt>
                <c:pt idx="524">
                  <c:v>133</c:v>
                </c:pt>
                <c:pt idx="525">
                  <c:v>92</c:v>
                </c:pt>
                <c:pt idx="526">
                  <c:v>64</c:v>
                </c:pt>
                <c:pt idx="527">
                  <c:v>69</c:v>
                </c:pt>
                <c:pt idx="528">
                  <c:v>52</c:v>
                </c:pt>
                <c:pt idx="529">
                  <c:v>23</c:v>
                </c:pt>
                <c:pt idx="530">
                  <c:v>27</c:v>
                </c:pt>
                <c:pt idx="531">
                  <c:v>90</c:v>
                </c:pt>
                <c:pt idx="532">
                  <c:v>73</c:v>
                </c:pt>
                <c:pt idx="533">
                  <c:v>69</c:v>
                </c:pt>
                <c:pt idx="534">
                  <c:v>41</c:v>
                </c:pt>
                <c:pt idx="535">
                  <c:v>30</c:v>
                </c:pt>
                <c:pt idx="536">
                  <c:v>24</c:v>
                </c:pt>
                <c:pt idx="537">
                  <c:v>11</c:v>
                </c:pt>
                <c:pt idx="538">
                  <c:v>63</c:v>
                </c:pt>
                <c:pt idx="539">
                  <c:v>40</c:v>
                </c:pt>
                <c:pt idx="540">
                  <c:v>39</c:v>
                </c:pt>
                <c:pt idx="541">
                  <c:v>32</c:v>
                </c:pt>
                <c:pt idx="542">
                  <c:v>33</c:v>
                </c:pt>
                <c:pt idx="543" formatCode="General">
                  <c:v>16</c:v>
                </c:pt>
                <c:pt idx="544" formatCode="General">
                  <c:v>13</c:v>
                </c:pt>
                <c:pt idx="545" formatCode="General">
                  <c:v>42</c:v>
                </c:pt>
                <c:pt idx="546" formatCode="General">
                  <c:v>37</c:v>
                </c:pt>
                <c:pt idx="547" formatCode="General">
                  <c:v>24</c:v>
                </c:pt>
                <c:pt idx="548" formatCode="General">
                  <c:v>18</c:v>
                </c:pt>
                <c:pt idx="549" formatCode="General">
                  <c:v>12</c:v>
                </c:pt>
                <c:pt idx="550" formatCode="General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X$1</c:f>
              <c:strCache>
                <c:ptCount val="23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  <c:pt idx="20">
                  <c:v>01/2022</c:v>
                </c:pt>
                <c:pt idx="21">
                  <c:v>02/2022</c:v>
                </c:pt>
                <c:pt idx="22">
                  <c:v>03/2022</c:v>
                </c:pt>
              </c:strCache>
            </c:strRef>
          </c:cat>
          <c:val>
            <c:numRef>
              <c:f>List1!$B$2:$X$2</c:f>
              <c:numCache>
                <c:formatCode>General</c:formatCode>
                <c:ptCount val="23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2</c:v>
                </c:pt>
                <c:pt idx="18">
                  <c:v>645</c:v>
                </c:pt>
                <c:pt idx="19">
                  <c:v>592</c:v>
                </c:pt>
                <c:pt idx="20">
                  <c:v>714</c:v>
                </c:pt>
                <c:pt idx="21">
                  <c:v>1787</c:v>
                </c:pt>
                <c:pt idx="22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52</c:f>
              <c:numCache>
                <c:formatCode>m/d/yyyy</c:formatCode>
                <c:ptCount val="5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</c:numCache>
            </c:numRef>
          </c:cat>
          <c:val>
            <c:numRef>
              <c:f>Sheet1!$B$2:$B$552</c:f>
              <c:numCache>
                <c:formatCode>#\ ##0_ ;\-#\ ##0\ </c:formatCode>
                <c:ptCount val="551"/>
                <c:pt idx="0">
                  <c:v>9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5</c:v>
                </c:pt>
                <c:pt idx="12">
                  <c:v>1</c:v>
                </c:pt>
                <c:pt idx="13">
                  <c:v>5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3</c:v>
                </c:pt>
                <c:pt idx="19">
                  <c:v>8</c:v>
                </c:pt>
                <c:pt idx="20">
                  <c:v>6</c:v>
                </c:pt>
                <c:pt idx="21">
                  <c:v>8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7</c:v>
                </c:pt>
                <c:pt idx="27">
                  <c:v>9</c:v>
                </c:pt>
                <c:pt idx="28">
                  <c:v>31</c:v>
                </c:pt>
                <c:pt idx="29">
                  <c:v>38</c:v>
                </c:pt>
                <c:pt idx="30">
                  <c:v>61</c:v>
                </c:pt>
                <c:pt idx="31">
                  <c:v>159</c:v>
                </c:pt>
                <c:pt idx="32">
                  <c:v>67</c:v>
                </c:pt>
                <c:pt idx="33">
                  <c:v>85</c:v>
                </c:pt>
                <c:pt idx="34">
                  <c:v>266</c:v>
                </c:pt>
                <c:pt idx="35">
                  <c:v>133</c:v>
                </c:pt>
                <c:pt idx="36">
                  <c:v>88</c:v>
                </c:pt>
                <c:pt idx="37">
                  <c:v>165</c:v>
                </c:pt>
                <c:pt idx="38">
                  <c:v>232</c:v>
                </c:pt>
                <c:pt idx="39">
                  <c:v>81</c:v>
                </c:pt>
                <c:pt idx="40">
                  <c:v>39</c:v>
                </c:pt>
                <c:pt idx="41">
                  <c:v>317</c:v>
                </c:pt>
                <c:pt idx="42">
                  <c:v>388</c:v>
                </c:pt>
                <c:pt idx="43">
                  <c:v>380</c:v>
                </c:pt>
                <c:pt idx="44">
                  <c:v>415</c:v>
                </c:pt>
                <c:pt idx="45">
                  <c:v>422</c:v>
                </c:pt>
                <c:pt idx="46">
                  <c:v>264</c:v>
                </c:pt>
                <c:pt idx="47">
                  <c:v>91</c:v>
                </c:pt>
                <c:pt idx="48">
                  <c:v>447</c:v>
                </c:pt>
                <c:pt idx="49">
                  <c:v>406</c:v>
                </c:pt>
                <c:pt idx="50">
                  <c:v>601</c:v>
                </c:pt>
                <c:pt idx="51">
                  <c:v>479</c:v>
                </c:pt>
                <c:pt idx="52">
                  <c:v>769</c:v>
                </c:pt>
                <c:pt idx="53">
                  <c:v>419</c:v>
                </c:pt>
                <c:pt idx="54">
                  <c:v>288</c:v>
                </c:pt>
                <c:pt idx="55">
                  <c:v>776</c:v>
                </c:pt>
                <c:pt idx="56">
                  <c:v>959</c:v>
                </c:pt>
                <c:pt idx="57">
                  <c:v>404</c:v>
                </c:pt>
                <c:pt idx="58">
                  <c:v>1032</c:v>
                </c:pt>
                <c:pt idx="59">
                  <c:v>936</c:v>
                </c:pt>
                <c:pt idx="60">
                  <c:v>526</c:v>
                </c:pt>
                <c:pt idx="61">
                  <c:v>335</c:v>
                </c:pt>
                <c:pt idx="62">
                  <c:v>654</c:v>
                </c:pt>
                <c:pt idx="63">
                  <c:v>594</c:v>
                </c:pt>
                <c:pt idx="64">
                  <c:v>772</c:v>
                </c:pt>
                <c:pt idx="65">
                  <c:v>835</c:v>
                </c:pt>
                <c:pt idx="66">
                  <c:v>743</c:v>
                </c:pt>
                <c:pt idx="67">
                  <c:v>337</c:v>
                </c:pt>
                <c:pt idx="68">
                  <c:v>132</c:v>
                </c:pt>
                <c:pt idx="69">
                  <c:v>415</c:v>
                </c:pt>
                <c:pt idx="70">
                  <c:v>600</c:v>
                </c:pt>
                <c:pt idx="71">
                  <c:v>958</c:v>
                </c:pt>
                <c:pt idx="72">
                  <c:v>751</c:v>
                </c:pt>
                <c:pt idx="73">
                  <c:v>697</c:v>
                </c:pt>
                <c:pt idx="74">
                  <c:v>262</c:v>
                </c:pt>
                <c:pt idx="75">
                  <c:v>204</c:v>
                </c:pt>
                <c:pt idx="76">
                  <c:v>591</c:v>
                </c:pt>
                <c:pt idx="77">
                  <c:v>191</c:v>
                </c:pt>
                <c:pt idx="78">
                  <c:v>440</c:v>
                </c:pt>
                <c:pt idx="79">
                  <c:v>414</c:v>
                </c:pt>
                <c:pt idx="80">
                  <c:v>372</c:v>
                </c:pt>
                <c:pt idx="81">
                  <c:v>136</c:v>
                </c:pt>
                <c:pt idx="82">
                  <c:v>112</c:v>
                </c:pt>
                <c:pt idx="83">
                  <c:v>535</c:v>
                </c:pt>
                <c:pt idx="84">
                  <c:v>313</c:v>
                </c:pt>
                <c:pt idx="85">
                  <c:v>228</c:v>
                </c:pt>
                <c:pt idx="86">
                  <c:v>258</c:v>
                </c:pt>
                <c:pt idx="87">
                  <c:v>224</c:v>
                </c:pt>
                <c:pt idx="88">
                  <c:v>101</c:v>
                </c:pt>
                <c:pt idx="89">
                  <c:v>45</c:v>
                </c:pt>
                <c:pt idx="90">
                  <c:v>328</c:v>
                </c:pt>
                <c:pt idx="91">
                  <c:v>216</c:v>
                </c:pt>
                <c:pt idx="92">
                  <c:v>209</c:v>
                </c:pt>
                <c:pt idx="93">
                  <c:v>194</c:v>
                </c:pt>
                <c:pt idx="94">
                  <c:v>242</c:v>
                </c:pt>
                <c:pt idx="95">
                  <c:v>132</c:v>
                </c:pt>
                <c:pt idx="96">
                  <c:v>50</c:v>
                </c:pt>
                <c:pt idx="97">
                  <c:v>265</c:v>
                </c:pt>
                <c:pt idx="98">
                  <c:v>171</c:v>
                </c:pt>
                <c:pt idx="99">
                  <c:v>207</c:v>
                </c:pt>
                <c:pt idx="100">
                  <c:v>148</c:v>
                </c:pt>
                <c:pt idx="101">
                  <c:v>320</c:v>
                </c:pt>
                <c:pt idx="102">
                  <c:v>88</c:v>
                </c:pt>
                <c:pt idx="103">
                  <c:v>68</c:v>
                </c:pt>
                <c:pt idx="104">
                  <c:v>292</c:v>
                </c:pt>
                <c:pt idx="105">
                  <c:v>207</c:v>
                </c:pt>
                <c:pt idx="106">
                  <c:v>198</c:v>
                </c:pt>
                <c:pt idx="107">
                  <c:v>125</c:v>
                </c:pt>
                <c:pt idx="108">
                  <c:v>312</c:v>
                </c:pt>
                <c:pt idx="109">
                  <c:v>93</c:v>
                </c:pt>
                <c:pt idx="110">
                  <c:v>51</c:v>
                </c:pt>
                <c:pt idx="111">
                  <c:v>348</c:v>
                </c:pt>
                <c:pt idx="112">
                  <c:v>295</c:v>
                </c:pt>
                <c:pt idx="113">
                  <c:v>251</c:v>
                </c:pt>
                <c:pt idx="114">
                  <c:v>50</c:v>
                </c:pt>
                <c:pt idx="115">
                  <c:v>123</c:v>
                </c:pt>
                <c:pt idx="116">
                  <c:v>134</c:v>
                </c:pt>
                <c:pt idx="117">
                  <c:v>147</c:v>
                </c:pt>
                <c:pt idx="118">
                  <c:v>364</c:v>
                </c:pt>
                <c:pt idx="119">
                  <c:v>336</c:v>
                </c:pt>
                <c:pt idx="120">
                  <c:v>264</c:v>
                </c:pt>
                <c:pt idx="121">
                  <c:v>229</c:v>
                </c:pt>
                <c:pt idx="122">
                  <c:v>102</c:v>
                </c:pt>
                <c:pt idx="123">
                  <c:v>129</c:v>
                </c:pt>
                <c:pt idx="124">
                  <c:v>83</c:v>
                </c:pt>
                <c:pt idx="125">
                  <c:v>573</c:v>
                </c:pt>
                <c:pt idx="126">
                  <c:v>307</c:v>
                </c:pt>
                <c:pt idx="127">
                  <c:v>285</c:v>
                </c:pt>
                <c:pt idx="128">
                  <c:v>344</c:v>
                </c:pt>
                <c:pt idx="129">
                  <c:v>324</c:v>
                </c:pt>
                <c:pt idx="130">
                  <c:v>125</c:v>
                </c:pt>
                <c:pt idx="131">
                  <c:v>63</c:v>
                </c:pt>
                <c:pt idx="132">
                  <c:v>492</c:v>
                </c:pt>
                <c:pt idx="133">
                  <c:v>231</c:v>
                </c:pt>
                <c:pt idx="134">
                  <c:v>288</c:v>
                </c:pt>
                <c:pt idx="135">
                  <c:v>157</c:v>
                </c:pt>
                <c:pt idx="136">
                  <c:v>161</c:v>
                </c:pt>
                <c:pt idx="137">
                  <c:v>71</c:v>
                </c:pt>
                <c:pt idx="138">
                  <c:v>76</c:v>
                </c:pt>
                <c:pt idx="139">
                  <c:v>299</c:v>
                </c:pt>
                <c:pt idx="140">
                  <c:v>161</c:v>
                </c:pt>
                <c:pt idx="141">
                  <c:v>220</c:v>
                </c:pt>
                <c:pt idx="142">
                  <c:v>178</c:v>
                </c:pt>
                <c:pt idx="143">
                  <c:v>202</c:v>
                </c:pt>
                <c:pt idx="144">
                  <c:v>81</c:v>
                </c:pt>
                <c:pt idx="145">
                  <c:v>40</c:v>
                </c:pt>
                <c:pt idx="146">
                  <c:v>179</c:v>
                </c:pt>
                <c:pt idx="147">
                  <c:v>122</c:v>
                </c:pt>
                <c:pt idx="148">
                  <c:v>156</c:v>
                </c:pt>
                <c:pt idx="149">
                  <c:v>103</c:v>
                </c:pt>
                <c:pt idx="150">
                  <c:v>89</c:v>
                </c:pt>
                <c:pt idx="151">
                  <c:v>80</c:v>
                </c:pt>
                <c:pt idx="152">
                  <c:v>26</c:v>
                </c:pt>
                <c:pt idx="153">
                  <c:v>191</c:v>
                </c:pt>
                <c:pt idx="154">
                  <c:v>175</c:v>
                </c:pt>
                <c:pt idx="155">
                  <c:v>163</c:v>
                </c:pt>
                <c:pt idx="156">
                  <c:v>133</c:v>
                </c:pt>
                <c:pt idx="157">
                  <c:v>141</c:v>
                </c:pt>
                <c:pt idx="158">
                  <c:v>57</c:v>
                </c:pt>
                <c:pt idx="159">
                  <c:v>34</c:v>
                </c:pt>
                <c:pt idx="160">
                  <c:v>142</c:v>
                </c:pt>
                <c:pt idx="161">
                  <c:v>88</c:v>
                </c:pt>
                <c:pt idx="162">
                  <c:v>102</c:v>
                </c:pt>
                <c:pt idx="163">
                  <c:v>111</c:v>
                </c:pt>
                <c:pt idx="164">
                  <c:v>92</c:v>
                </c:pt>
                <c:pt idx="165">
                  <c:v>24</c:v>
                </c:pt>
                <c:pt idx="166">
                  <c:v>32</c:v>
                </c:pt>
                <c:pt idx="167">
                  <c:v>104</c:v>
                </c:pt>
                <c:pt idx="168">
                  <c:v>53</c:v>
                </c:pt>
                <c:pt idx="169">
                  <c:v>67</c:v>
                </c:pt>
                <c:pt idx="170">
                  <c:v>65</c:v>
                </c:pt>
                <c:pt idx="171">
                  <c:v>69</c:v>
                </c:pt>
                <c:pt idx="172">
                  <c:v>27</c:v>
                </c:pt>
                <c:pt idx="173">
                  <c:v>31</c:v>
                </c:pt>
                <c:pt idx="174">
                  <c:v>172</c:v>
                </c:pt>
                <c:pt idx="175">
                  <c:v>84</c:v>
                </c:pt>
                <c:pt idx="176">
                  <c:v>71</c:v>
                </c:pt>
                <c:pt idx="177">
                  <c:v>81</c:v>
                </c:pt>
                <c:pt idx="178">
                  <c:v>96</c:v>
                </c:pt>
                <c:pt idx="179">
                  <c:v>23</c:v>
                </c:pt>
                <c:pt idx="180">
                  <c:v>13</c:v>
                </c:pt>
                <c:pt idx="181">
                  <c:v>146</c:v>
                </c:pt>
                <c:pt idx="182">
                  <c:v>71</c:v>
                </c:pt>
                <c:pt idx="183">
                  <c:v>103</c:v>
                </c:pt>
                <c:pt idx="184">
                  <c:v>59</c:v>
                </c:pt>
                <c:pt idx="185">
                  <c:v>60</c:v>
                </c:pt>
                <c:pt idx="186">
                  <c:v>21</c:v>
                </c:pt>
                <c:pt idx="187">
                  <c:v>20</c:v>
                </c:pt>
                <c:pt idx="188">
                  <c:v>92</c:v>
                </c:pt>
                <c:pt idx="189">
                  <c:v>148</c:v>
                </c:pt>
                <c:pt idx="190">
                  <c:v>91</c:v>
                </c:pt>
                <c:pt idx="191">
                  <c:v>44</c:v>
                </c:pt>
                <c:pt idx="192">
                  <c:v>54</c:v>
                </c:pt>
                <c:pt idx="193">
                  <c:v>21</c:v>
                </c:pt>
                <c:pt idx="194">
                  <c:v>14</c:v>
                </c:pt>
                <c:pt idx="195">
                  <c:v>72</c:v>
                </c:pt>
                <c:pt idx="196">
                  <c:v>48</c:v>
                </c:pt>
                <c:pt idx="197">
                  <c:v>39</c:v>
                </c:pt>
                <c:pt idx="198">
                  <c:v>53</c:v>
                </c:pt>
                <c:pt idx="199">
                  <c:v>42</c:v>
                </c:pt>
                <c:pt idx="200">
                  <c:v>12</c:v>
                </c:pt>
                <c:pt idx="201">
                  <c:v>9</c:v>
                </c:pt>
                <c:pt idx="202">
                  <c:v>52</c:v>
                </c:pt>
                <c:pt idx="203">
                  <c:v>50</c:v>
                </c:pt>
                <c:pt idx="204">
                  <c:v>33</c:v>
                </c:pt>
                <c:pt idx="205">
                  <c:v>42</c:v>
                </c:pt>
                <c:pt idx="206">
                  <c:v>25</c:v>
                </c:pt>
                <c:pt idx="207">
                  <c:v>6</c:v>
                </c:pt>
                <c:pt idx="208">
                  <c:v>5</c:v>
                </c:pt>
                <c:pt idx="209">
                  <c:v>47</c:v>
                </c:pt>
                <c:pt idx="210">
                  <c:v>33</c:v>
                </c:pt>
                <c:pt idx="211">
                  <c:v>25</c:v>
                </c:pt>
                <c:pt idx="212">
                  <c:v>24</c:v>
                </c:pt>
                <c:pt idx="213">
                  <c:v>9</c:v>
                </c:pt>
                <c:pt idx="214">
                  <c:v>8</c:v>
                </c:pt>
                <c:pt idx="215">
                  <c:v>4</c:v>
                </c:pt>
                <c:pt idx="216">
                  <c:v>9</c:v>
                </c:pt>
                <c:pt idx="217">
                  <c:v>27</c:v>
                </c:pt>
                <c:pt idx="218">
                  <c:v>37</c:v>
                </c:pt>
                <c:pt idx="219">
                  <c:v>19</c:v>
                </c:pt>
                <c:pt idx="220">
                  <c:v>11</c:v>
                </c:pt>
                <c:pt idx="221">
                  <c:v>7</c:v>
                </c:pt>
                <c:pt idx="222">
                  <c:v>1</c:v>
                </c:pt>
                <c:pt idx="223">
                  <c:v>10</c:v>
                </c:pt>
                <c:pt idx="224">
                  <c:v>11</c:v>
                </c:pt>
                <c:pt idx="225">
                  <c:v>9</c:v>
                </c:pt>
                <c:pt idx="226">
                  <c:v>11</c:v>
                </c:pt>
                <c:pt idx="227">
                  <c:v>8</c:v>
                </c:pt>
                <c:pt idx="228">
                  <c:v>2</c:v>
                </c:pt>
                <c:pt idx="229">
                  <c:v>3</c:v>
                </c:pt>
                <c:pt idx="230">
                  <c:v>18</c:v>
                </c:pt>
                <c:pt idx="231">
                  <c:v>12</c:v>
                </c:pt>
                <c:pt idx="232">
                  <c:v>10</c:v>
                </c:pt>
                <c:pt idx="233">
                  <c:v>23</c:v>
                </c:pt>
                <c:pt idx="234">
                  <c:v>11</c:v>
                </c:pt>
                <c:pt idx="235">
                  <c:v>2</c:v>
                </c:pt>
                <c:pt idx="236">
                  <c:v>0</c:v>
                </c:pt>
                <c:pt idx="237">
                  <c:v>10</c:v>
                </c:pt>
                <c:pt idx="238">
                  <c:v>13</c:v>
                </c:pt>
                <c:pt idx="239">
                  <c:v>5</c:v>
                </c:pt>
                <c:pt idx="240">
                  <c:v>5</c:v>
                </c:pt>
                <c:pt idx="241">
                  <c:v>7</c:v>
                </c:pt>
                <c:pt idx="242">
                  <c:v>0</c:v>
                </c:pt>
                <c:pt idx="243">
                  <c:v>1</c:v>
                </c:pt>
                <c:pt idx="244">
                  <c:v>6</c:v>
                </c:pt>
                <c:pt idx="245">
                  <c:v>2</c:v>
                </c:pt>
                <c:pt idx="246">
                  <c:v>4</c:v>
                </c:pt>
                <c:pt idx="247">
                  <c:v>5</c:v>
                </c:pt>
                <c:pt idx="248">
                  <c:v>3</c:v>
                </c:pt>
                <c:pt idx="249">
                  <c:v>1</c:v>
                </c:pt>
                <c:pt idx="250">
                  <c:v>3</c:v>
                </c:pt>
                <c:pt idx="251">
                  <c:v>8</c:v>
                </c:pt>
                <c:pt idx="252">
                  <c:v>6</c:v>
                </c:pt>
                <c:pt idx="253">
                  <c:v>0</c:v>
                </c:pt>
                <c:pt idx="254">
                  <c:v>5</c:v>
                </c:pt>
                <c:pt idx="255">
                  <c:v>6</c:v>
                </c:pt>
                <c:pt idx="256">
                  <c:v>1</c:v>
                </c:pt>
                <c:pt idx="257">
                  <c:v>0</c:v>
                </c:pt>
                <c:pt idx="258">
                  <c:v>8</c:v>
                </c:pt>
                <c:pt idx="259">
                  <c:v>5</c:v>
                </c:pt>
                <c:pt idx="260">
                  <c:v>4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3</c:v>
                </c:pt>
                <c:pt idx="275">
                  <c:v>3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1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2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1</c:v>
                </c:pt>
                <c:pt idx="310">
                  <c:v>2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6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1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8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7</c:v>
                </c:pt>
                <c:pt idx="392">
                  <c:v>2</c:v>
                </c:pt>
                <c:pt idx="393">
                  <c:v>8</c:v>
                </c:pt>
                <c:pt idx="394">
                  <c:v>3</c:v>
                </c:pt>
                <c:pt idx="395">
                  <c:v>4</c:v>
                </c:pt>
                <c:pt idx="396">
                  <c:v>1</c:v>
                </c:pt>
                <c:pt idx="397">
                  <c:v>1</c:v>
                </c:pt>
                <c:pt idx="398">
                  <c:v>6</c:v>
                </c:pt>
                <c:pt idx="399">
                  <c:v>7</c:v>
                </c:pt>
                <c:pt idx="400">
                  <c:v>13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4</c:v>
                </c:pt>
                <c:pt idx="407">
                  <c:v>21</c:v>
                </c:pt>
                <c:pt idx="408">
                  <c:v>6</c:v>
                </c:pt>
                <c:pt idx="409">
                  <c:v>9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3</c:v>
                </c:pt>
                <c:pt idx="414">
                  <c:v>15</c:v>
                </c:pt>
                <c:pt idx="415">
                  <c:v>9</c:v>
                </c:pt>
                <c:pt idx="416">
                  <c:v>16</c:v>
                </c:pt>
                <c:pt idx="417">
                  <c:v>1</c:v>
                </c:pt>
                <c:pt idx="418">
                  <c:v>5</c:v>
                </c:pt>
                <c:pt idx="419">
                  <c:v>34</c:v>
                </c:pt>
                <c:pt idx="420">
                  <c:v>15</c:v>
                </c:pt>
                <c:pt idx="421">
                  <c:v>29</c:v>
                </c:pt>
                <c:pt idx="422">
                  <c:v>3</c:v>
                </c:pt>
                <c:pt idx="423">
                  <c:v>26</c:v>
                </c:pt>
                <c:pt idx="424">
                  <c:v>12</c:v>
                </c:pt>
                <c:pt idx="425">
                  <c:v>15</c:v>
                </c:pt>
                <c:pt idx="426">
                  <c:v>76</c:v>
                </c:pt>
                <c:pt idx="427">
                  <c:v>41</c:v>
                </c:pt>
                <c:pt idx="428">
                  <c:v>37</c:v>
                </c:pt>
                <c:pt idx="429">
                  <c:v>78</c:v>
                </c:pt>
                <c:pt idx="430">
                  <c:v>50</c:v>
                </c:pt>
                <c:pt idx="431">
                  <c:v>19</c:v>
                </c:pt>
                <c:pt idx="432">
                  <c:v>10</c:v>
                </c:pt>
                <c:pt idx="433">
                  <c:v>84</c:v>
                </c:pt>
                <c:pt idx="434">
                  <c:v>58</c:v>
                </c:pt>
                <c:pt idx="435">
                  <c:v>47</c:v>
                </c:pt>
                <c:pt idx="436">
                  <c:v>57</c:v>
                </c:pt>
                <c:pt idx="437">
                  <c:v>51</c:v>
                </c:pt>
                <c:pt idx="438">
                  <c:v>33</c:v>
                </c:pt>
                <c:pt idx="439">
                  <c:v>29</c:v>
                </c:pt>
                <c:pt idx="440">
                  <c:v>101</c:v>
                </c:pt>
                <c:pt idx="441">
                  <c:v>67</c:v>
                </c:pt>
                <c:pt idx="442">
                  <c:v>39</c:v>
                </c:pt>
                <c:pt idx="443">
                  <c:v>99</c:v>
                </c:pt>
                <c:pt idx="444">
                  <c:v>137</c:v>
                </c:pt>
                <c:pt idx="445">
                  <c:v>39</c:v>
                </c:pt>
                <c:pt idx="446">
                  <c:v>16</c:v>
                </c:pt>
                <c:pt idx="447">
                  <c:v>124</c:v>
                </c:pt>
                <c:pt idx="448">
                  <c:v>68</c:v>
                </c:pt>
                <c:pt idx="449">
                  <c:v>92</c:v>
                </c:pt>
                <c:pt idx="450">
                  <c:v>78</c:v>
                </c:pt>
                <c:pt idx="451">
                  <c:v>104</c:v>
                </c:pt>
                <c:pt idx="452">
                  <c:v>27</c:v>
                </c:pt>
                <c:pt idx="453">
                  <c:v>14</c:v>
                </c:pt>
                <c:pt idx="454">
                  <c:v>89</c:v>
                </c:pt>
                <c:pt idx="455">
                  <c:v>63</c:v>
                </c:pt>
                <c:pt idx="456">
                  <c:v>74</c:v>
                </c:pt>
                <c:pt idx="457">
                  <c:v>64</c:v>
                </c:pt>
                <c:pt idx="458">
                  <c:v>44</c:v>
                </c:pt>
                <c:pt idx="459">
                  <c:v>59</c:v>
                </c:pt>
                <c:pt idx="460">
                  <c:v>17</c:v>
                </c:pt>
                <c:pt idx="461">
                  <c:v>82</c:v>
                </c:pt>
                <c:pt idx="462">
                  <c:v>58</c:v>
                </c:pt>
                <c:pt idx="463">
                  <c:v>53</c:v>
                </c:pt>
                <c:pt idx="464">
                  <c:v>57</c:v>
                </c:pt>
                <c:pt idx="465">
                  <c:v>49</c:v>
                </c:pt>
                <c:pt idx="466">
                  <c:v>19</c:v>
                </c:pt>
                <c:pt idx="467">
                  <c:v>10</c:v>
                </c:pt>
                <c:pt idx="468">
                  <c:v>52</c:v>
                </c:pt>
                <c:pt idx="469">
                  <c:v>64</c:v>
                </c:pt>
                <c:pt idx="470">
                  <c:v>45</c:v>
                </c:pt>
                <c:pt idx="471">
                  <c:v>25</c:v>
                </c:pt>
                <c:pt idx="472">
                  <c:v>28</c:v>
                </c:pt>
                <c:pt idx="473">
                  <c:v>10</c:v>
                </c:pt>
                <c:pt idx="474">
                  <c:v>13</c:v>
                </c:pt>
                <c:pt idx="475">
                  <c:v>44</c:v>
                </c:pt>
                <c:pt idx="476">
                  <c:v>21</c:v>
                </c:pt>
                <c:pt idx="477">
                  <c:v>12</c:v>
                </c:pt>
                <c:pt idx="478">
                  <c:v>9</c:v>
                </c:pt>
                <c:pt idx="479">
                  <c:v>8</c:v>
                </c:pt>
                <c:pt idx="480">
                  <c:v>8</c:v>
                </c:pt>
                <c:pt idx="481">
                  <c:v>5</c:v>
                </c:pt>
                <c:pt idx="482">
                  <c:v>20</c:v>
                </c:pt>
                <c:pt idx="483">
                  <c:v>23</c:v>
                </c:pt>
                <c:pt idx="484">
                  <c:v>16</c:v>
                </c:pt>
                <c:pt idx="485">
                  <c:v>12</c:v>
                </c:pt>
                <c:pt idx="486">
                  <c:v>16</c:v>
                </c:pt>
                <c:pt idx="487">
                  <c:v>3</c:v>
                </c:pt>
                <c:pt idx="488">
                  <c:v>4</c:v>
                </c:pt>
                <c:pt idx="489">
                  <c:v>24</c:v>
                </c:pt>
                <c:pt idx="490">
                  <c:v>20</c:v>
                </c:pt>
                <c:pt idx="491">
                  <c:v>12</c:v>
                </c:pt>
                <c:pt idx="492">
                  <c:v>16</c:v>
                </c:pt>
                <c:pt idx="493">
                  <c:v>17</c:v>
                </c:pt>
                <c:pt idx="494">
                  <c:v>4</c:v>
                </c:pt>
                <c:pt idx="495">
                  <c:v>5</c:v>
                </c:pt>
                <c:pt idx="496">
                  <c:v>20</c:v>
                </c:pt>
                <c:pt idx="497">
                  <c:v>19</c:v>
                </c:pt>
                <c:pt idx="498">
                  <c:v>13</c:v>
                </c:pt>
                <c:pt idx="499">
                  <c:v>16</c:v>
                </c:pt>
                <c:pt idx="500">
                  <c:v>21</c:v>
                </c:pt>
                <c:pt idx="501">
                  <c:v>7</c:v>
                </c:pt>
                <c:pt idx="502">
                  <c:v>15</c:v>
                </c:pt>
                <c:pt idx="503">
                  <c:v>68</c:v>
                </c:pt>
                <c:pt idx="504">
                  <c:v>48</c:v>
                </c:pt>
                <c:pt idx="505">
                  <c:v>53</c:v>
                </c:pt>
                <c:pt idx="506">
                  <c:v>70</c:v>
                </c:pt>
                <c:pt idx="507">
                  <c:v>84</c:v>
                </c:pt>
                <c:pt idx="508">
                  <c:v>52</c:v>
                </c:pt>
                <c:pt idx="509">
                  <c:v>22</c:v>
                </c:pt>
                <c:pt idx="510">
                  <c:v>139</c:v>
                </c:pt>
                <c:pt idx="511">
                  <c:v>145</c:v>
                </c:pt>
                <c:pt idx="512">
                  <c:v>139</c:v>
                </c:pt>
                <c:pt idx="513">
                  <c:v>84</c:v>
                </c:pt>
                <c:pt idx="514">
                  <c:v>122</c:v>
                </c:pt>
                <c:pt idx="515">
                  <c:v>34</c:v>
                </c:pt>
                <c:pt idx="516">
                  <c:v>37</c:v>
                </c:pt>
                <c:pt idx="517">
                  <c:v>159</c:v>
                </c:pt>
                <c:pt idx="518">
                  <c:v>170</c:v>
                </c:pt>
                <c:pt idx="519">
                  <c:v>116</c:v>
                </c:pt>
                <c:pt idx="520">
                  <c:v>92</c:v>
                </c:pt>
                <c:pt idx="521">
                  <c:v>141</c:v>
                </c:pt>
                <c:pt idx="522">
                  <c:v>52</c:v>
                </c:pt>
                <c:pt idx="523">
                  <c:v>39</c:v>
                </c:pt>
                <c:pt idx="524">
                  <c:v>221</c:v>
                </c:pt>
                <c:pt idx="525">
                  <c:v>143</c:v>
                </c:pt>
                <c:pt idx="526">
                  <c:v>93</c:v>
                </c:pt>
                <c:pt idx="527">
                  <c:v>109</c:v>
                </c:pt>
                <c:pt idx="528">
                  <c:v>117</c:v>
                </c:pt>
                <c:pt idx="529">
                  <c:v>43</c:v>
                </c:pt>
                <c:pt idx="530">
                  <c:v>43</c:v>
                </c:pt>
                <c:pt idx="531">
                  <c:v>151</c:v>
                </c:pt>
                <c:pt idx="532">
                  <c:v>127</c:v>
                </c:pt>
                <c:pt idx="533">
                  <c:v>119</c:v>
                </c:pt>
                <c:pt idx="534">
                  <c:v>122</c:v>
                </c:pt>
                <c:pt idx="535">
                  <c:v>68</c:v>
                </c:pt>
                <c:pt idx="536" formatCode="General">
                  <c:v>32</c:v>
                </c:pt>
                <c:pt idx="537" formatCode="General">
                  <c:v>24</c:v>
                </c:pt>
                <c:pt idx="538" formatCode="General">
                  <c:v>101</c:v>
                </c:pt>
                <c:pt idx="539" formatCode="General">
                  <c:v>99</c:v>
                </c:pt>
                <c:pt idx="540" formatCode="General">
                  <c:v>80</c:v>
                </c:pt>
                <c:pt idx="541" formatCode="General">
                  <c:v>58</c:v>
                </c:pt>
                <c:pt idx="542" formatCode="General">
                  <c:v>70</c:v>
                </c:pt>
                <c:pt idx="543" formatCode="General">
                  <c:v>23</c:v>
                </c:pt>
                <c:pt idx="544" formatCode="General">
                  <c:v>18</c:v>
                </c:pt>
                <c:pt idx="545" formatCode="General">
                  <c:v>77</c:v>
                </c:pt>
                <c:pt idx="546" formatCode="General">
                  <c:v>70</c:v>
                </c:pt>
                <c:pt idx="547" formatCode="General">
                  <c:v>60</c:v>
                </c:pt>
                <c:pt idx="548" formatCode="General">
                  <c:v>37</c:v>
                </c:pt>
                <c:pt idx="549" formatCode="General">
                  <c:v>24</c:v>
                </c:pt>
                <c:pt idx="550" formatCode="General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411505068434053E-2"/>
          <c:y val="2.6442228452657451E-2"/>
          <c:w val="0.92286884437605277"/>
          <c:h val="0.82527763003509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52</c:f>
              <c:numCache>
                <c:formatCode>m/d/yyyy</c:formatCode>
                <c:ptCount val="5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</c:numCache>
            </c:numRef>
          </c:cat>
          <c:val>
            <c:numRef>
              <c:f>Sheet1!$B$2:$B$552</c:f>
              <c:numCache>
                <c:formatCode>#\ ##0_ ;\-#\ ##0\ </c:formatCode>
                <c:ptCount val="5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2</c:v>
                </c:pt>
                <c:pt idx="57">
                  <c:v>27</c:v>
                </c:pt>
                <c:pt idx="58">
                  <c:v>47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2</c:v>
                </c:pt>
                <c:pt idx="66">
                  <c:v>44</c:v>
                </c:pt>
                <c:pt idx="67">
                  <c:v>42</c:v>
                </c:pt>
                <c:pt idx="68">
                  <c:v>40</c:v>
                </c:pt>
                <c:pt idx="69">
                  <c:v>37</c:v>
                </c:pt>
                <c:pt idx="70">
                  <c:v>44</c:v>
                </c:pt>
                <c:pt idx="71">
                  <c:v>42</c:v>
                </c:pt>
                <c:pt idx="72">
                  <c:v>48</c:v>
                </c:pt>
                <c:pt idx="73">
                  <c:v>48</c:v>
                </c:pt>
                <c:pt idx="74">
                  <c:v>37</c:v>
                </c:pt>
                <c:pt idx="75">
                  <c:v>25</c:v>
                </c:pt>
                <c:pt idx="76">
                  <c:v>35</c:v>
                </c:pt>
                <c:pt idx="77">
                  <c:v>42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6</c:v>
                </c:pt>
                <c:pt idx="84">
                  <c:v>41</c:v>
                </c:pt>
                <c:pt idx="85">
                  <c:v>27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0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5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4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19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7</c:v>
                </c:pt>
                <c:pt idx="135">
                  <c:v>23</c:v>
                </c:pt>
                <c:pt idx="136">
                  <c:v>21</c:v>
                </c:pt>
                <c:pt idx="137">
                  <c:v>17</c:v>
                </c:pt>
                <c:pt idx="138">
                  <c:v>18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5</c:v>
                </c:pt>
                <c:pt idx="154">
                  <c:v>9</c:v>
                </c:pt>
                <c:pt idx="155">
                  <c:v>9</c:v>
                </c:pt>
                <c:pt idx="156">
                  <c:v>13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7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9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9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3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5</c:v>
                </c:pt>
                <c:pt idx="434">
                  <c:v>4</c:v>
                </c:pt>
                <c:pt idx="435">
                  <c:v>2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6</c:v>
                </c:pt>
                <c:pt idx="449">
                  <c:v>3</c:v>
                </c:pt>
                <c:pt idx="450">
                  <c:v>3</c:v>
                </c:pt>
                <c:pt idx="451">
                  <c:v>12</c:v>
                </c:pt>
                <c:pt idx="452">
                  <c:v>4</c:v>
                </c:pt>
                <c:pt idx="453">
                  <c:v>5</c:v>
                </c:pt>
                <c:pt idx="454">
                  <c:v>4</c:v>
                </c:pt>
                <c:pt idx="455">
                  <c:v>6</c:v>
                </c:pt>
                <c:pt idx="456">
                  <c:v>4</c:v>
                </c:pt>
                <c:pt idx="457">
                  <c:v>0</c:v>
                </c:pt>
                <c:pt idx="458">
                  <c:v>0</c:v>
                </c:pt>
                <c:pt idx="459">
                  <c:v>2</c:v>
                </c:pt>
                <c:pt idx="460">
                  <c:v>5</c:v>
                </c:pt>
                <c:pt idx="461">
                  <c:v>4</c:v>
                </c:pt>
                <c:pt idx="462">
                  <c:v>3</c:v>
                </c:pt>
                <c:pt idx="463">
                  <c:v>5</c:v>
                </c:pt>
                <c:pt idx="464">
                  <c:v>4</c:v>
                </c:pt>
                <c:pt idx="465">
                  <c:v>2</c:v>
                </c:pt>
                <c:pt idx="466">
                  <c:v>2</c:v>
                </c:pt>
                <c:pt idx="467">
                  <c:v>2</c:v>
                </c:pt>
                <c:pt idx="468">
                  <c:v>1</c:v>
                </c:pt>
                <c:pt idx="469">
                  <c:v>3</c:v>
                </c:pt>
                <c:pt idx="470">
                  <c:v>2</c:v>
                </c:pt>
                <c:pt idx="471">
                  <c:v>5</c:v>
                </c:pt>
                <c:pt idx="472">
                  <c:v>6</c:v>
                </c:pt>
                <c:pt idx="473">
                  <c:v>1</c:v>
                </c:pt>
                <c:pt idx="474">
                  <c:v>1</c:v>
                </c:pt>
                <c:pt idx="475">
                  <c:v>5</c:v>
                </c:pt>
                <c:pt idx="476">
                  <c:v>0</c:v>
                </c:pt>
                <c:pt idx="477">
                  <c:v>0</c:v>
                </c:pt>
                <c:pt idx="478">
                  <c:v>1</c:v>
                </c:pt>
                <c:pt idx="479">
                  <c:v>1</c:v>
                </c:pt>
                <c:pt idx="480">
                  <c:v>4</c:v>
                </c:pt>
                <c:pt idx="481">
                  <c:v>1</c:v>
                </c:pt>
                <c:pt idx="482">
                  <c:v>0</c:v>
                </c:pt>
                <c:pt idx="483">
                  <c:v>1</c:v>
                </c:pt>
                <c:pt idx="484">
                  <c:v>1</c:v>
                </c:pt>
                <c:pt idx="485">
                  <c:v>4</c:v>
                </c:pt>
                <c:pt idx="486">
                  <c:v>0</c:v>
                </c:pt>
                <c:pt idx="487">
                  <c:v>2</c:v>
                </c:pt>
                <c:pt idx="488">
                  <c:v>0</c:v>
                </c:pt>
                <c:pt idx="489">
                  <c:v>0</c:v>
                </c:pt>
                <c:pt idx="490">
                  <c:v>3</c:v>
                </c:pt>
                <c:pt idx="491">
                  <c:v>0</c:v>
                </c:pt>
                <c:pt idx="492">
                  <c:v>3</c:v>
                </c:pt>
                <c:pt idx="493">
                  <c:v>1</c:v>
                </c:pt>
                <c:pt idx="494">
                  <c:v>0</c:v>
                </c:pt>
                <c:pt idx="495">
                  <c:v>1</c:v>
                </c:pt>
                <c:pt idx="496">
                  <c:v>0</c:v>
                </c:pt>
                <c:pt idx="497">
                  <c:v>1</c:v>
                </c:pt>
                <c:pt idx="498">
                  <c:v>1</c:v>
                </c:pt>
                <c:pt idx="499">
                  <c:v>0</c:v>
                </c:pt>
                <c:pt idx="500">
                  <c:v>1</c:v>
                </c:pt>
                <c:pt idx="501">
                  <c:v>0</c:v>
                </c:pt>
                <c:pt idx="502">
                  <c:v>1</c:v>
                </c:pt>
                <c:pt idx="503">
                  <c:v>1</c:v>
                </c:pt>
                <c:pt idx="504">
                  <c:v>0</c:v>
                </c:pt>
                <c:pt idx="505">
                  <c:v>0</c:v>
                </c:pt>
                <c:pt idx="506">
                  <c:v>3</c:v>
                </c:pt>
                <c:pt idx="507">
                  <c:v>1</c:v>
                </c:pt>
                <c:pt idx="508">
                  <c:v>1</c:v>
                </c:pt>
                <c:pt idx="509">
                  <c:v>3</c:v>
                </c:pt>
                <c:pt idx="510">
                  <c:v>0</c:v>
                </c:pt>
                <c:pt idx="511">
                  <c:v>1</c:v>
                </c:pt>
                <c:pt idx="512">
                  <c:v>0</c:v>
                </c:pt>
                <c:pt idx="513">
                  <c:v>1</c:v>
                </c:pt>
                <c:pt idx="514">
                  <c:v>1</c:v>
                </c:pt>
                <c:pt idx="515">
                  <c:v>2</c:v>
                </c:pt>
                <c:pt idx="516">
                  <c:v>0</c:v>
                </c:pt>
                <c:pt idx="517">
                  <c:v>1</c:v>
                </c:pt>
                <c:pt idx="518">
                  <c:v>5</c:v>
                </c:pt>
                <c:pt idx="519">
                  <c:v>2</c:v>
                </c:pt>
                <c:pt idx="520">
                  <c:v>2</c:v>
                </c:pt>
                <c:pt idx="521">
                  <c:v>1</c:v>
                </c:pt>
                <c:pt idx="522">
                  <c:v>4</c:v>
                </c:pt>
                <c:pt idx="523">
                  <c:v>0</c:v>
                </c:pt>
                <c:pt idx="524">
                  <c:v>3</c:v>
                </c:pt>
                <c:pt idx="525">
                  <c:v>3</c:v>
                </c:pt>
                <c:pt idx="526">
                  <c:v>2</c:v>
                </c:pt>
                <c:pt idx="527">
                  <c:v>1</c:v>
                </c:pt>
                <c:pt idx="528">
                  <c:v>2</c:v>
                </c:pt>
                <c:pt idx="529">
                  <c:v>3</c:v>
                </c:pt>
                <c:pt idx="530">
                  <c:v>1</c:v>
                </c:pt>
                <c:pt idx="531">
                  <c:v>3</c:v>
                </c:pt>
                <c:pt idx="532">
                  <c:v>3</c:v>
                </c:pt>
                <c:pt idx="533">
                  <c:v>3</c:v>
                </c:pt>
                <c:pt idx="534">
                  <c:v>2</c:v>
                </c:pt>
                <c:pt idx="535">
                  <c:v>3</c:v>
                </c:pt>
                <c:pt idx="536">
                  <c:v>1</c:v>
                </c:pt>
                <c:pt idx="537">
                  <c:v>4</c:v>
                </c:pt>
                <c:pt idx="538">
                  <c:v>4</c:v>
                </c:pt>
                <c:pt idx="539">
                  <c:v>2</c:v>
                </c:pt>
                <c:pt idx="540">
                  <c:v>2</c:v>
                </c:pt>
                <c:pt idx="541">
                  <c:v>2</c:v>
                </c:pt>
                <c:pt idx="542">
                  <c:v>4</c:v>
                </c:pt>
                <c:pt idx="543">
                  <c:v>2</c:v>
                </c:pt>
                <c:pt idx="544">
                  <c:v>1</c:v>
                </c:pt>
                <c:pt idx="545">
                  <c:v>3</c:v>
                </c:pt>
                <c:pt idx="546">
                  <c:v>2</c:v>
                </c:pt>
                <c:pt idx="547">
                  <c:v>3</c:v>
                </c:pt>
                <c:pt idx="548">
                  <c:v>4</c:v>
                </c:pt>
                <c:pt idx="549">
                  <c:v>3</c:v>
                </c:pt>
                <c:pt idx="55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65</c:f>
              <c:numCache>
                <c:formatCode>m/d/yyyy</c:formatCode>
                <c:ptCount val="464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8</c:v>
                </c:pt>
                <c:pt idx="238">
                  <c:v>44319</c:v>
                </c:pt>
                <c:pt idx="239">
                  <c:v>44320</c:v>
                </c:pt>
                <c:pt idx="240">
                  <c:v>44321</c:v>
                </c:pt>
                <c:pt idx="241">
                  <c:v>44322</c:v>
                </c:pt>
                <c:pt idx="242">
                  <c:v>44323</c:v>
                </c:pt>
                <c:pt idx="243">
                  <c:v>44324</c:v>
                </c:pt>
                <c:pt idx="244">
                  <c:v>44325</c:v>
                </c:pt>
                <c:pt idx="245">
                  <c:v>44326</c:v>
                </c:pt>
                <c:pt idx="246">
                  <c:v>44327</c:v>
                </c:pt>
                <c:pt idx="247">
                  <c:v>44329</c:v>
                </c:pt>
                <c:pt idx="248">
                  <c:v>44330</c:v>
                </c:pt>
                <c:pt idx="249">
                  <c:v>44331</c:v>
                </c:pt>
                <c:pt idx="250">
                  <c:v>44333</c:v>
                </c:pt>
                <c:pt idx="251">
                  <c:v>44334</c:v>
                </c:pt>
                <c:pt idx="252">
                  <c:v>44335</c:v>
                </c:pt>
                <c:pt idx="253">
                  <c:v>44336</c:v>
                </c:pt>
                <c:pt idx="254">
                  <c:v>44337</c:v>
                </c:pt>
                <c:pt idx="255">
                  <c:v>44340</c:v>
                </c:pt>
                <c:pt idx="256">
                  <c:v>44341</c:v>
                </c:pt>
                <c:pt idx="257">
                  <c:v>44342</c:v>
                </c:pt>
                <c:pt idx="258">
                  <c:v>44343</c:v>
                </c:pt>
                <c:pt idx="259">
                  <c:v>44347</c:v>
                </c:pt>
                <c:pt idx="260">
                  <c:v>44349</c:v>
                </c:pt>
                <c:pt idx="261">
                  <c:v>44350</c:v>
                </c:pt>
                <c:pt idx="262">
                  <c:v>44354</c:v>
                </c:pt>
                <c:pt idx="263">
                  <c:v>44358</c:v>
                </c:pt>
                <c:pt idx="264">
                  <c:v>44364</c:v>
                </c:pt>
                <c:pt idx="265">
                  <c:v>44370</c:v>
                </c:pt>
                <c:pt idx="266">
                  <c:v>44371</c:v>
                </c:pt>
                <c:pt idx="267">
                  <c:v>44375</c:v>
                </c:pt>
                <c:pt idx="268">
                  <c:v>44377</c:v>
                </c:pt>
                <c:pt idx="269">
                  <c:v>44378</c:v>
                </c:pt>
                <c:pt idx="270">
                  <c:v>44381</c:v>
                </c:pt>
                <c:pt idx="271">
                  <c:v>44384</c:v>
                </c:pt>
                <c:pt idx="272">
                  <c:v>44385</c:v>
                </c:pt>
                <c:pt idx="273">
                  <c:v>44388</c:v>
                </c:pt>
                <c:pt idx="274">
                  <c:v>44398</c:v>
                </c:pt>
                <c:pt idx="275">
                  <c:v>44401</c:v>
                </c:pt>
                <c:pt idx="276">
                  <c:v>44404</c:v>
                </c:pt>
                <c:pt idx="277">
                  <c:v>44405</c:v>
                </c:pt>
                <c:pt idx="278">
                  <c:v>44416</c:v>
                </c:pt>
                <c:pt idx="279">
                  <c:v>44419</c:v>
                </c:pt>
                <c:pt idx="280">
                  <c:v>44424</c:v>
                </c:pt>
                <c:pt idx="281">
                  <c:v>44425</c:v>
                </c:pt>
                <c:pt idx="282">
                  <c:v>44427</c:v>
                </c:pt>
                <c:pt idx="283">
                  <c:v>44431</c:v>
                </c:pt>
                <c:pt idx="284">
                  <c:v>44434</c:v>
                </c:pt>
                <c:pt idx="285">
                  <c:v>44435</c:v>
                </c:pt>
                <c:pt idx="286">
                  <c:v>44436</c:v>
                </c:pt>
                <c:pt idx="287">
                  <c:v>44440</c:v>
                </c:pt>
                <c:pt idx="288">
                  <c:v>44441</c:v>
                </c:pt>
                <c:pt idx="289">
                  <c:v>44442</c:v>
                </c:pt>
                <c:pt idx="290">
                  <c:v>44443</c:v>
                </c:pt>
                <c:pt idx="291">
                  <c:v>44445</c:v>
                </c:pt>
                <c:pt idx="292">
                  <c:v>44446</c:v>
                </c:pt>
                <c:pt idx="293">
                  <c:v>44447</c:v>
                </c:pt>
                <c:pt idx="294">
                  <c:v>44448</c:v>
                </c:pt>
                <c:pt idx="295">
                  <c:v>44449</c:v>
                </c:pt>
                <c:pt idx="296">
                  <c:v>44451</c:v>
                </c:pt>
                <c:pt idx="297">
                  <c:v>44452</c:v>
                </c:pt>
                <c:pt idx="298">
                  <c:v>44453</c:v>
                </c:pt>
                <c:pt idx="299">
                  <c:v>44457</c:v>
                </c:pt>
                <c:pt idx="300">
                  <c:v>44459</c:v>
                </c:pt>
                <c:pt idx="301">
                  <c:v>44460</c:v>
                </c:pt>
                <c:pt idx="302">
                  <c:v>44461</c:v>
                </c:pt>
                <c:pt idx="303">
                  <c:v>44464</c:v>
                </c:pt>
                <c:pt idx="304">
                  <c:v>44465</c:v>
                </c:pt>
                <c:pt idx="305">
                  <c:v>44466</c:v>
                </c:pt>
                <c:pt idx="306">
                  <c:v>44467</c:v>
                </c:pt>
                <c:pt idx="307">
                  <c:v>44468</c:v>
                </c:pt>
                <c:pt idx="308">
                  <c:v>44469</c:v>
                </c:pt>
                <c:pt idx="309">
                  <c:v>44470</c:v>
                </c:pt>
                <c:pt idx="310">
                  <c:v>44471</c:v>
                </c:pt>
                <c:pt idx="311">
                  <c:v>44472</c:v>
                </c:pt>
                <c:pt idx="312">
                  <c:v>44473</c:v>
                </c:pt>
                <c:pt idx="313">
                  <c:v>44474</c:v>
                </c:pt>
                <c:pt idx="314">
                  <c:v>44475</c:v>
                </c:pt>
                <c:pt idx="315">
                  <c:v>44476</c:v>
                </c:pt>
                <c:pt idx="316">
                  <c:v>44477</c:v>
                </c:pt>
                <c:pt idx="317">
                  <c:v>44478</c:v>
                </c:pt>
                <c:pt idx="318">
                  <c:v>44480</c:v>
                </c:pt>
                <c:pt idx="319">
                  <c:v>44481</c:v>
                </c:pt>
                <c:pt idx="320">
                  <c:v>44482</c:v>
                </c:pt>
                <c:pt idx="321">
                  <c:v>44483</c:v>
                </c:pt>
                <c:pt idx="322">
                  <c:v>44484</c:v>
                </c:pt>
                <c:pt idx="323">
                  <c:v>44485</c:v>
                </c:pt>
                <c:pt idx="324">
                  <c:v>44486</c:v>
                </c:pt>
                <c:pt idx="325">
                  <c:v>44487</c:v>
                </c:pt>
                <c:pt idx="326">
                  <c:v>44488</c:v>
                </c:pt>
                <c:pt idx="327">
                  <c:v>44489</c:v>
                </c:pt>
                <c:pt idx="328">
                  <c:v>44490</c:v>
                </c:pt>
                <c:pt idx="329">
                  <c:v>44491</c:v>
                </c:pt>
                <c:pt idx="330">
                  <c:v>44492</c:v>
                </c:pt>
                <c:pt idx="331">
                  <c:v>44493</c:v>
                </c:pt>
                <c:pt idx="332">
                  <c:v>44494</c:v>
                </c:pt>
                <c:pt idx="333">
                  <c:v>44495</c:v>
                </c:pt>
                <c:pt idx="334">
                  <c:v>44496</c:v>
                </c:pt>
                <c:pt idx="335">
                  <c:v>44497</c:v>
                </c:pt>
                <c:pt idx="336">
                  <c:v>44498</c:v>
                </c:pt>
                <c:pt idx="337">
                  <c:v>44499</c:v>
                </c:pt>
                <c:pt idx="338">
                  <c:v>44500</c:v>
                </c:pt>
                <c:pt idx="339">
                  <c:v>44501</c:v>
                </c:pt>
                <c:pt idx="340">
                  <c:v>44502</c:v>
                </c:pt>
                <c:pt idx="341">
                  <c:v>44503</c:v>
                </c:pt>
                <c:pt idx="342">
                  <c:v>44504</c:v>
                </c:pt>
                <c:pt idx="343">
                  <c:v>44505</c:v>
                </c:pt>
                <c:pt idx="344">
                  <c:v>44506</c:v>
                </c:pt>
                <c:pt idx="345">
                  <c:v>44507</c:v>
                </c:pt>
                <c:pt idx="346">
                  <c:v>44508</c:v>
                </c:pt>
                <c:pt idx="347">
                  <c:v>44509</c:v>
                </c:pt>
                <c:pt idx="348">
                  <c:v>44510</c:v>
                </c:pt>
                <c:pt idx="349">
                  <c:v>44511</c:v>
                </c:pt>
                <c:pt idx="350">
                  <c:v>44512</c:v>
                </c:pt>
                <c:pt idx="351">
                  <c:v>44513</c:v>
                </c:pt>
                <c:pt idx="352">
                  <c:v>44514</c:v>
                </c:pt>
                <c:pt idx="353">
                  <c:v>44515</c:v>
                </c:pt>
                <c:pt idx="354">
                  <c:v>44516</c:v>
                </c:pt>
                <c:pt idx="355">
                  <c:v>44517</c:v>
                </c:pt>
                <c:pt idx="356">
                  <c:v>44518</c:v>
                </c:pt>
                <c:pt idx="357">
                  <c:v>44519</c:v>
                </c:pt>
                <c:pt idx="358">
                  <c:v>44520</c:v>
                </c:pt>
                <c:pt idx="359">
                  <c:v>44521</c:v>
                </c:pt>
                <c:pt idx="360">
                  <c:v>44522</c:v>
                </c:pt>
                <c:pt idx="361">
                  <c:v>44523</c:v>
                </c:pt>
                <c:pt idx="362">
                  <c:v>44524</c:v>
                </c:pt>
                <c:pt idx="363">
                  <c:v>44525</c:v>
                </c:pt>
                <c:pt idx="364">
                  <c:v>44526</c:v>
                </c:pt>
                <c:pt idx="365">
                  <c:v>44527</c:v>
                </c:pt>
                <c:pt idx="366">
                  <c:v>44528</c:v>
                </c:pt>
                <c:pt idx="367">
                  <c:v>44529</c:v>
                </c:pt>
                <c:pt idx="368">
                  <c:v>44530</c:v>
                </c:pt>
                <c:pt idx="369">
                  <c:v>44531</c:v>
                </c:pt>
                <c:pt idx="370">
                  <c:v>44532</c:v>
                </c:pt>
                <c:pt idx="371">
                  <c:v>44533</c:v>
                </c:pt>
                <c:pt idx="372">
                  <c:v>44534</c:v>
                </c:pt>
                <c:pt idx="373">
                  <c:v>44535</c:v>
                </c:pt>
                <c:pt idx="374">
                  <c:v>44536</c:v>
                </c:pt>
                <c:pt idx="375">
                  <c:v>44537</c:v>
                </c:pt>
                <c:pt idx="376">
                  <c:v>44538</c:v>
                </c:pt>
                <c:pt idx="377">
                  <c:v>44539</c:v>
                </c:pt>
                <c:pt idx="378">
                  <c:v>44540</c:v>
                </c:pt>
                <c:pt idx="379">
                  <c:v>44541</c:v>
                </c:pt>
                <c:pt idx="380">
                  <c:v>44542</c:v>
                </c:pt>
                <c:pt idx="381">
                  <c:v>44543</c:v>
                </c:pt>
                <c:pt idx="382">
                  <c:v>44544</c:v>
                </c:pt>
                <c:pt idx="383">
                  <c:v>44545</c:v>
                </c:pt>
                <c:pt idx="384">
                  <c:v>44546</c:v>
                </c:pt>
                <c:pt idx="385">
                  <c:v>44547</c:v>
                </c:pt>
                <c:pt idx="386">
                  <c:v>44548</c:v>
                </c:pt>
                <c:pt idx="387">
                  <c:v>44549</c:v>
                </c:pt>
                <c:pt idx="388">
                  <c:v>44550</c:v>
                </c:pt>
                <c:pt idx="389">
                  <c:v>44551</c:v>
                </c:pt>
                <c:pt idx="390">
                  <c:v>44552</c:v>
                </c:pt>
                <c:pt idx="391">
                  <c:v>44553</c:v>
                </c:pt>
                <c:pt idx="392">
                  <c:v>44554</c:v>
                </c:pt>
                <c:pt idx="393">
                  <c:v>44555</c:v>
                </c:pt>
                <c:pt idx="394">
                  <c:v>44556</c:v>
                </c:pt>
                <c:pt idx="395">
                  <c:v>44557</c:v>
                </c:pt>
                <c:pt idx="396">
                  <c:v>44558</c:v>
                </c:pt>
                <c:pt idx="397">
                  <c:v>44559</c:v>
                </c:pt>
                <c:pt idx="398">
                  <c:v>44560</c:v>
                </c:pt>
                <c:pt idx="399">
                  <c:v>44561</c:v>
                </c:pt>
                <c:pt idx="400">
                  <c:v>44562</c:v>
                </c:pt>
                <c:pt idx="401">
                  <c:v>44563</c:v>
                </c:pt>
                <c:pt idx="402">
                  <c:v>44564</c:v>
                </c:pt>
                <c:pt idx="403">
                  <c:v>44565</c:v>
                </c:pt>
                <c:pt idx="404">
                  <c:v>44566</c:v>
                </c:pt>
                <c:pt idx="405">
                  <c:v>44567</c:v>
                </c:pt>
                <c:pt idx="406">
                  <c:v>44568</c:v>
                </c:pt>
                <c:pt idx="407">
                  <c:v>44569</c:v>
                </c:pt>
                <c:pt idx="408">
                  <c:v>44570</c:v>
                </c:pt>
                <c:pt idx="409">
                  <c:v>44571</c:v>
                </c:pt>
                <c:pt idx="410">
                  <c:v>44572</c:v>
                </c:pt>
                <c:pt idx="411">
                  <c:v>44573</c:v>
                </c:pt>
                <c:pt idx="412">
                  <c:v>44574</c:v>
                </c:pt>
                <c:pt idx="413">
                  <c:v>44575</c:v>
                </c:pt>
                <c:pt idx="414">
                  <c:v>44576</c:v>
                </c:pt>
                <c:pt idx="415">
                  <c:v>44577</c:v>
                </c:pt>
                <c:pt idx="416">
                  <c:v>44578</c:v>
                </c:pt>
                <c:pt idx="417">
                  <c:v>44579</c:v>
                </c:pt>
                <c:pt idx="418">
                  <c:v>44580</c:v>
                </c:pt>
                <c:pt idx="419">
                  <c:v>44581</c:v>
                </c:pt>
                <c:pt idx="420">
                  <c:v>44582</c:v>
                </c:pt>
                <c:pt idx="421">
                  <c:v>44583</c:v>
                </c:pt>
                <c:pt idx="422">
                  <c:v>44584</c:v>
                </c:pt>
                <c:pt idx="423">
                  <c:v>44585</c:v>
                </c:pt>
                <c:pt idx="424">
                  <c:v>44586</c:v>
                </c:pt>
                <c:pt idx="425">
                  <c:v>44587</c:v>
                </c:pt>
                <c:pt idx="426">
                  <c:v>44588</c:v>
                </c:pt>
                <c:pt idx="427">
                  <c:v>44589</c:v>
                </c:pt>
                <c:pt idx="428">
                  <c:v>44590</c:v>
                </c:pt>
                <c:pt idx="429">
                  <c:v>44591</c:v>
                </c:pt>
                <c:pt idx="430">
                  <c:v>44592</c:v>
                </c:pt>
                <c:pt idx="431">
                  <c:v>44593</c:v>
                </c:pt>
                <c:pt idx="432">
                  <c:v>44594</c:v>
                </c:pt>
                <c:pt idx="433">
                  <c:v>44595</c:v>
                </c:pt>
                <c:pt idx="434">
                  <c:v>44596</c:v>
                </c:pt>
                <c:pt idx="435">
                  <c:v>44597</c:v>
                </c:pt>
                <c:pt idx="436">
                  <c:v>44598</c:v>
                </c:pt>
                <c:pt idx="437">
                  <c:v>44599</c:v>
                </c:pt>
                <c:pt idx="438">
                  <c:v>44600</c:v>
                </c:pt>
                <c:pt idx="439">
                  <c:v>44601</c:v>
                </c:pt>
                <c:pt idx="440">
                  <c:v>44602</c:v>
                </c:pt>
                <c:pt idx="441">
                  <c:v>44603</c:v>
                </c:pt>
                <c:pt idx="442">
                  <c:v>44604</c:v>
                </c:pt>
                <c:pt idx="443">
                  <c:v>44605</c:v>
                </c:pt>
                <c:pt idx="444">
                  <c:v>44606</c:v>
                </c:pt>
                <c:pt idx="445">
                  <c:v>44607</c:v>
                </c:pt>
                <c:pt idx="446">
                  <c:v>44608</c:v>
                </c:pt>
                <c:pt idx="447">
                  <c:v>44609</c:v>
                </c:pt>
                <c:pt idx="448">
                  <c:v>44610</c:v>
                </c:pt>
                <c:pt idx="449">
                  <c:v>44611</c:v>
                </c:pt>
                <c:pt idx="450">
                  <c:v>44612</c:v>
                </c:pt>
                <c:pt idx="451">
                  <c:v>44613</c:v>
                </c:pt>
                <c:pt idx="452">
                  <c:v>44614</c:v>
                </c:pt>
                <c:pt idx="453">
                  <c:v>44615</c:v>
                </c:pt>
                <c:pt idx="454">
                  <c:v>44616</c:v>
                </c:pt>
                <c:pt idx="455">
                  <c:v>44617</c:v>
                </c:pt>
                <c:pt idx="456">
                  <c:v>44618</c:v>
                </c:pt>
                <c:pt idx="457">
                  <c:v>44619</c:v>
                </c:pt>
                <c:pt idx="458">
                  <c:v>44620</c:v>
                </c:pt>
                <c:pt idx="459">
                  <c:v>44621</c:v>
                </c:pt>
                <c:pt idx="460">
                  <c:v>44622</c:v>
                </c:pt>
                <c:pt idx="461">
                  <c:v>44623</c:v>
                </c:pt>
                <c:pt idx="462">
                  <c:v>44624</c:v>
                </c:pt>
                <c:pt idx="463">
                  <c:v>44625</c:v>
                </c:pt>
              </c:numCache>
            </c:numRef>
          </c:cat>
          <c:val>
            <c:numRef>
              <c:f>Sheet1!$B$2:$B$465</c:f>
              <c:numCache>
                <c:formatCode>General</c:formatCode>
                <c:ptCount val="464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2</c:v>
                </c:pt>
                <c:pt idx="16">
                  <c:v>1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4</c:v>
                </c:pt>
                <c:pt idx="24">
                  <c:v>1</c:v>
                </c:pt>
                <c:pt idx="25">
                  <c:v>8</c:v>
                </c:pt>
                <c:pt idx="26">
                  <c:v>9</c:v>
                </c:pt>
                <c:pt idx="27">
                  <c:v>19</c:v>
                </c:pt>
                <c:pt idx="28">
                  <c:v>10</c:v>
                </c:pt>
                <c:pt idx="29">
                  <c:v>7</c:v>
                </c:pt>
                <c:pt idx="30">
                  <c:v>46</c:v>
                </c:pt>
                <c:pt idx="31">
                  <c:v>15</c:v>
                </c:pt>
                <c:pt idx="32">
                  <c:v>8</c:v>
                </c:pt>
                <c:pt idx="33">
                  <c:v>17</c:v>
                </c:pt>
                <c:pt idx="34">
                  <c:v>28</c:v>
                </c:pt>
                <c:pt idx="35">
                  <c:v>12</c:v>
                </c:pt>
                <c:pt idx="36">
                  <c:v>2</c:v>
                </c:pt>
                <c:pt idx="37">
                  <c:v>28</c:v>
                </c:pt>
                <c:pt idx="38">
                  <c:v>40</c:v>
                </c:pt>
                <c:pt idx="39">
                  <c:v>50</c:v>
                </c:pt>
                <c:pt idx="40">
                  <c:v>34</c:v>
                </c:pt>
                <c:pt idx="41">
                  <c:v>42</c:v>
                </c:pt>
                <c:pt idx="42">
                  <c:v>26</c:v>
                </c:pt>
                <c:pt idx="43">
                  <c:v>16</c:v>
                </c:pt>
                <c:pt idx="44">
                  <c:v>42</c:v>
                </c:pt>
                <c:pt idx="45">
                  <c:v>42</c:v>
                </c:pt>
                <c:pt idx="46">
                  <c:v>58</c:v>
                </c:pt>
                <c:pt idx="47">
                  <c:v>63</c:v>
                </c:pt>
                <c:pt idx="48">
                  <c:v>77</c:v>
                </c:pt>
                <c:pt idx="49">
                  <c:v>46</c:v>
                </c:pt>
                <c:pt idx="50">
                  <c:v>36</c:v>
                </c:pt>
                <c:pt idx="51">
                  <c:v>82</c:v>
                </c:pt>
                <c:pt idx="52">
                  <c:v>74</c:v>
                </c:pt>
                <c:pt idx="53">
                  <c:v>43</c:v>
                </c:pt>
                <c:pt idx="54">
                  <c:v>91</c:v>
                </c:pt>
                <c:pt idx="55">
                  <c:v>102</c:v>
                </c:pt>
                <c:pt idx="56">
                  <c:v>38</c:v>
                </c:pt>
                <c:pt idx="57">
                  <c:v>39</c:v>
                </c:pt>
                <c:pt idx="58">
                  <c:v>64</c:v>
                </c:pt>
                <c:pt idx="59">
                  <c:v>64</c:v>
                </c:pt>
                <c:pt idx="60">
                  <c:v>69</c:v>
                </c:pt>
                <c:pt idx="61">
                  <c:v>83</c:v>
                </c:pt>
                <c:pt idx="62">
                  <c:v>87</c:v>
                </c:pt>
                <c:pt idx="63">
                  <c:v>33</c:v>
                </c:pt>
                <c:pt idx="64">
                  <c:v>18</c:v>
                </c:pt>
                <c:pt idx="65">
                  <c:v>54</c:v>
                </c:pt>
                <c:pt idx="66">
                  <c:v>74</c:v>
                </c:pt>
                <c:pt idx="67">
                  <c:v>123</c:v>
                </c:pt>
                <c:pt idx="68">
                  <c:v>97</c:v>
                </c:pt>
                <c:pt idx="69">
                  <c:v>82</c:v>
                </c:pt>
                <c:pt idx="70">
                  <c:v>47</c:v>
                </c:pt>
                <c:pt idx="71">
                  <c:v>28</c:v>
                </c:pt>
                <c:pt idx="72">
                  <c:v>71</c:v>
                </c:pt>
                <c:pt idx="73">
                  <c:v>26</c:v>
                </c:pt>
                <c:pt idx="74">
                  <c:v>52</c:v>
                </c:pt>
                <c:pt idx="75">
                  <c:v>61</c:v>
                </c:pt>
                <c:pt idx="76">
                  <c:v>52</c:v>
                </c:pt>
                <c:pt idx="77">
                  <c:v>21</c:v>
                </c:pt>
                <c:pt idx="78">
                  <c:v>13</c:v>
                </c:pt>
                <c:pt idx="79">
                  <c:v>76</c:v>
                </c:pt>
                <c:pt idx="80">
                  <c:v>44</c:v>
                </c:pt>
                <c:pt idx="81">
                  <c:v>30</c:v>
                </c:pt>
                <c:pt idx="82">
                  <c:v>37</c:v>
                </c:pt>
                <c:pt idx="83">
                  <c:v>28</c:v>
                </c:pt>
                <c:pt idx="84">
                  <c:v>16</c:v>
                </c:pt>
                <c:pt idx="85">
                  <c:v>13</c:v>
                </c:pt>
                <c:pt idx="86">
                  <c:v>43</c:v>
                </c:pt>
                <c:pt idx="87">
                  <c:v>33</c:v>
                </c:pt>
                <c:pt idx="88">
                  <c:v>28</c:v>
                </c:pt>
                <c:pt idx="89">
                  <c:v>24</c:v>
                </c:pt>
                <c:pt idx="90">
                  <c:v>43</c:v>
                </c:pt>
                <c:pt idx="91">
                  <c:v>21</c:v>
                </c:pt>
                <c:pt idx="92">
                  <c:v>10</c:v>
                </c:pt>
                <c:pt idx="93">
                  <c:v>37</c:v>
                </c:pt>
                <c:pt idx="94">
                  <c:v>30</c:v>
                </c:pt>
                <c:pt idx="95">
                  <c:v>33</c:v>
                </c:pt>
                <c:pt idx="96">
                  <c:v>29</c:v>
                </c:pt>
                <c:pt idx="97">
                  <c:v>36</c:v>
                </c:pt>
                <c:pt idx="98">
                  <c:v>17</c:v>
                </c:pt>
                <c:pt idx="99">
                  <c:v>24</c:v>
                </c:pt>
                <c:pt idx="100">
                  <c:v>37</c:v>
                </c:pt>
                <c:pt idx="101">
                  <c:v>26</c:v>
                </c:pt>
                <c:pt idx="102">
                  <c:v>29</c:v>
                </c:pt>
                <c:pt idx="103">
                  <c:v>17</c:v>
                </c:pt>
                <c:pt idx="104">
                  <c:v>39</c:v>
                </c:pt>
                <c:pt idx="105">
                  <c:v>15</c:v>
                </c:pt>
                <c:pt idx="106">
                  <c:v>7</c:v>
                </c:pt>
                <c:pt idx="107">
                  <c:v>30</c:v>
                </c:pt>
                <c:pt idx="108">
                  <c:v>43</c:v>
                </c:pt>
                <c:pt idx="109">
                  <c:v>22</c:v>
                </c:pt>
                <c:pt idx="110">
                  <c:v>5</c:v>
                </c:pt>
                <c:pt idx="111">
                  <c:v>23</c:v>
                </c:pt>
                <c:pt idx="112">
                  <c:v>18</c:v>
                </c:pt>
                <c:pt idx="113">
                  <c:v>20</c:v>
                </c:pt>
                <c:pt idx="114">
                  <c:v>21</c:v>
                </c:pt>
                <c:pt idx="115">
                  <c:v>45</c:v>
                </c:pt>
                <c:pt idx="116">
                  <c:v>28</c:v>
                </c:pt>
                <c:pt idx="117">
                  <c:v>37</c:v>
                </c:pt>
                <c:pt idx="118">
                  <c:v>20</c:v>
                </c:pt>
                <c:pt idx="119">
                  <c:v>15</c:v>
                </c:pt>
                <c:pt idx="120">
                  <c:v>5</c:v>
                </c:pt>
                <c:pt idx="121">
                  <c:v>33</c:v>
                </c:pt>
                <c:pt idx="122">
                  <c:v>32</c:v>
                </c:pt>
                <c:pt idx="123">
                  <c:v>35</c:v>
                </c:pt>
                <c:pt idx="124">
                  <c:v>44</c:v>
                </c:pt>
                <c:pt idx="125">
                  <c:v>38</c:v>
                </c:pt>
                <c:pt idx="126">
                  <c:v>16</c:v>
                </c:pt>
                <c:pt idx="127">
                  <c:v>9</c:v>
                </c:pt>
                <c:pt idx="128">
                  <c:v>56</c:v>
                </c:pt>
                <c:pt idx="129">
                  <c:v>27</c:v>
                </c:pt>
                <c:pt idx="130">
                  <c:v>22</c:v>
                </c:pt>
                <c:pt idx="131">
                  <c:v>13</c:v>
                </c:pt>
                <c:pt idx="132">
                  <c:v>22</c:v>
                </c:pt>
                <c:pt idx="133">
                  <c:v>12</c:v>
                </c:pt>
                <c:pt idx="134">
                  <c:v>15</c:v>
                </c:pt>
                <c:pt idx="135">
                  <c:v>32</c:v>
                </c:pt>
                <c:pt idx="136">
                  <c:v>27</c:v>
                </c:pt>
                <c:pt idx="137">
                  <c:v>38</c:v>
                </c:pt>
                <c:pt idx="138">
                  <c:v>25</c:v>
                </c:pt>
                <c:pt idx="139">
                  <c:v>24</c:v>
                </c:pt>
                <c:pt idx="140">
                  <c:v>8</c:v>
                </c:pt>
                <c:pt idx="141">
                  <c:v>10</c:v>
                </c:pt>
                <c:pt idx="142">
                  <c:v>24</c:v>
                </c:pt>
                <c:pt idx="143">
                  <c:v>14</c:v>
                </c:pt>
                <c:pt idx="144">
                  <c:v>21</c:v>
                </c:pt>
                <c:pt idx="145">
                  <c:v>12</c:v>
                </c:pt>
                <c:pt idx="146">
                  <c:v>8</c:v>
                </c:pt>
                <c:pt idx="147">
                  <c:v>10</c:v>
                </c:pt>
                <c:pt idx="148">
                  <c:v>7</c:v>
                </c:pt>
                <c:pt idx="149">
                  <c:v>23</c:v>
                </c:pt>
                <c:pt idx="150">
                  <c:v>21</c:v>
                </c:pt>
                <c:pt idx="151">
                  <c:v>15</c:v>
                </c:pt>
                <c:pt idx="152">
                  <c:v>21</c:v>
                </c:pt>
                <c:pt idx="153">
                  <c:v>16</c:v>
                </c:pt>
                <c:pt idx="154">
                  <c:v>6</c:v>
                </c:pt>
                <c:pt idx="155">
                  <c:v>5</c:v>
                </c:pt>
                <c:pt idx="156">
                  <c:v>16</c:v>
                </c:pt>
                <c:pt idx="157">
                  <c:v>15</c:v>
                </c:pt>
                <c:pt idx="158">
                  <c:v>16</c:v>
                </c:pt>
                <c:pt idx="159">
                  <c:v>13</c:v>
                </c:pt>
                <c:pt idx="160">
                  <c:v>13</c:v>
                </c:pt>
                <c:pt idx="161">
                  <c:v>2</c:v>
                </c:pt>
                <c:pt idx="162">
                  <c:v>5</c:v>
                </c:pt>
                <c:pt idx="163">
                  <c:v>8</c:v>
                </c:pt>
                <c:pt idx="164">
                  <c:v>8</c:v>
                </c:pt>
                <c:pt idx="165">
                  <c:v>7</c:v>
                </c:pt>
                <c:pt idx="166">
                  <c:v>10</c:v>
                </c:pt>
                <c:pt idx="167">
                  <c:v>6</c:v>
                </c:pt>
                <c:pt idx="168">
                  <c:v>11</c:v>
                </c:pt>
                <c:pt idx="169">
                  <c:v>4</c:v>
                </c:pt>
                <c:pt idx="170">
                  <c:v>23</c:v>
                </c:pt>
                <c:pt idx="171">
                  <c:v>16</c:v>
                </c:pt>
                <c:pt idx="172">
                  <c:v>8</c:v>
                </c:pt>
                <c:pt idx="173">
                  <c:v>11</c:v>
                </c:pt>
                <c:pt idx="174">
                  <c:v>11</c:v>
                </c:pt>
                <c:pt idx="175">
                  <c:v>4</c:v>
                </c:pt>
                <c:pt idx="176">
                  <c:v>1</c:v>
                </c:pt>
                <c:pt idx="177">
                  <c:v>12</c:v>
                </c:pt>
                <c:pt idx="178">
                  <c:v>7</c:v>
                </c:pt>
                <c:pt idx="179">
                  <c:v>10</c:v>
                </c:pt>
                <c:pt idx="180">
                  <c:v>4</c:v>
                </c:pt>
                <c:pt idx="181">
                  <c:v>8</c:v>
                </c:pt>
                <c:pt idx="182">
                  <c:v>2</c:v>
                </c:pt>
                <c:pt idx="183">
                  <c:v>4</c:v>
                </c:pt>
                <c:pt idx="184">
                  <c:v>6</c:v>
                </c:pt>
                <c:pt idx="185">
                  <c:v>12</c:v>
                </c:pt>
                <c:pt idx="186">
                  <c:v>12</c:v>
                </c:pt>
                <c:pt idx="187">
                  <c:v>6</c:v>
                </c:pt>
                <c:pt idx="188">
                  <c:v>6</c:v>
                </c:pt>
                <c:pt idx="189">
                  <c:v>5</c:v>
                </c:pt>
                <c:pt idx="190">
                  <c:v>3</c:v>
                </c:pt>
                <c:pt idx="191">
                  <c:v>11</c:v>
                </c:pt>
                <c:pt idx="192">
                  <c:v>9</c:v>
                </c:pt>
                <c:pt idx="193">
                  <c:v>3</c:v>
                </c:pt>
                <c:pt idx="194">
                  <c:v>8</c:v>
                </c:pt>
                <c:pt idx="195">
                  <c:v>11</c:v>
                </c:pt>
                <c:pt idx="196">
                  <c:v>4</c:v>
                </c:pt>
                <c:pt idx="197">
                  <c:v>2</c:v>
                </c:pt>
                <c:pt idx="198">
                  <c:v>4</c:v>
                </c:pt>
                <c:pt idx="199">
                  <c:v>8</c:v>
                </c:pt>
                <c:pt idx="200">
                  <c:v>4</c:v>
                </c:pt>
                <c:pt idx="201">
                  <c:v>3</c:v>
                </c:pt>
                <c:pt idx="202">
                  <c:v>2</c:v>
                </c:pt>
                <c:pt idx="203">
                  <c:v>2</c:v>
                </c:pt>
                <c:pt idx="204">
                  <c:v>0</c:v>
                </c:pt>
                <c:pt idx="205">
                  <c:v>3</c:v>
                </c:pt>
                <c:pt idx="206">
                  <c:v>1</c:v>
                </c:pt>
                <c:pt idx="207">
                  <c:v>2</c:v>
                </c:pt>
                <c:pt idx="208">
                  <c:v>2</c:v>
                </c:pt>
                <c:pt idx="209">
                  <c:v>1</c:v>
                </c:pt>
                <c:pt idx="210">
                  <c:v>3</c:v>
                </c:pt>
                <c:pt idx="211">
                  <c:v>2</c:v>
                </c:pt>
                <c:pt idx="212">
                  <c:v>0</c:v>
                </c:pt>
                <c:pt idx="213">
                  <c:v>0</c:v>
                </c:pt>
                <c:pt idx="214">
                  <c:v>6</c:v>
                </c:pt>
                <c:pt idx="215">
                  <c:v>1</c:v>
                </c:pt>
                <c:pt idx="216">
                  <c:v>1</c:v>
                </c:pt>
                <c:pt idx="217">
                  <c:v>0</c:v>
                </c:pt>
                <c:pt idx="218">
                  <c:v>0</c:v>
                </c:pt>
                <c:pt idx="219">
                  <c:v>1</c:v>
                </c:pt>
                <c:pt idx="220">
                  <c:v>4</c:v>
                </c:pt>
                <c:pt idx="221">
                  <c:v>2</c:v>
                </c:pt>
                <c:pt idx="222">
                  <c:v>2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1</c:v>
                </c:pt>
                <c:pt idx="227">
                  <c:v>2</c:v>
                </c:pt>
                <c:pt idx="228">
                  <c:v>2</c:v>
                </c:pt>
                <c:pt idx="229">
                  <c:v>5</c:v>
                </c:pt>
                <c:pt idx="230">
                  <c:v>2</c:v>
                </c:pt>
                <c:pt idx="231">
                  <c:v>0</c:v>
                </c:pt>
                <c:pt idx="232">
                  <c:v>1</c:v>
                </c:pt>
                <c:pt idx="233">
                  <c:v>5</c:v>
                </c:pt>
                <c:pt idx="234">
                  <c:v>0</c:v>
                </c:pt>
                <c:pt idx="235">
                  <c:v>1</c:v>
                </c:pt>
                <c:pt idx="236">
                  <c:v>0</c:v>
                </c:pt>
                <c:pt idx="237">
                  <c:v>0</c:v>
                </c:pt>
                <c:pt idx="238">
                  <c:v>2</c:v>
                </c:pt>
                <c:pt idx="239">
                  <c:v>0</c:v>
                </c:pt>
                <c:pt idx="240">
                  <c:v>1</c:v>
                </c:pt>
                <c:pt idx="241">
                  <c:v>0</c:v>
                </c:pt>
                <c:pt idx="242">
                  <c:v>1</c:v>
                </c:pt>
                <c:pt idx="243">
                  <c:v>0</c:v>
                </c:pt>
                <c:pt idx="244">
                  <c:v>2</c:v>
                </c:pt>
                <c:pt idx="245">
                  <c:v>3</c:v>
                </c:pt>
                <c:pt idx="246">
                  <c:v>1</c:v>
                </c:pt>
                <c:pt idx="247">
                  <c:v>3</c:v>
                </c:pt>
                <c:pt idx="248">
                  <c:v>4</c:v>
                </c:pt>
                <c:pt idx="249">
                  <c:v>1</c:v>
                </c:pt>
                <c:pt idx="250">
                  <c:v>1</c:v>
                </c:pt>
                <c:pt idx="251">
                  <c:v>0</c:v>
                </c:pt>
                <c:pt idx="252">
                  <c:v>2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1</c:v>
                </c:pt>
                <c:pt idx="260">
                  <c:v>2</c:v>
                </c:pt>
                <c:pt idx="261">
                  <c:v>1</c:v>
                </c:pt>
                <c:pt idx="262">
                  <c:v>0</c:v>
                </c:pt>
                <c:pt idx="263">
                  <c:v>0</c:v>
                </c:pt>
                <c:pt idx="264">
                  <c:v>1</c:v>
                </c:pt>
                <c:pt idx="265">
                  <c:v>1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1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1</c:v>
                </c:pt>
                <c:pt idx="282">
                  <c:v>1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2</c:v>
                </c:pt>
                <c:pt idx="288">
                  <c:v>2</c:v>
                </c:pt>
                <c:pt idx="289">
                  <c:v>1</c:v>
                </c:pt>
                <c:pt idx="290">
                  <c:v>0</c:v>
                </c:pt>
                <c:pt idx="291">
                  <c:v>2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2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1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1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3</c:v>
                </c:pt>
                <c:pt idx="315">
                  <c:v>1</c:v>
                </c:pt>
                <c:pt idx="316">
                  <c:v>2</c:v>
                </c:pt>
                <c:pt idx="317">
                  <c:v>0</c:v>
                </c:pt>
                <c:pt idx="318">
                  <c:v>1</c:v>
                </c:pt>
                <c:pt idx="319">
                  <c:v>1</c:v>
                </c:pt>
                <c:pt idx="320">
                  <c:v>3</c:v>
                </c:pt>
                <c:pt idx="321">
                  <c:v>1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4</c:v>
                </c:pt>
                <c:pt idx="326">
                  <c:v>0</c:v>
                </c:pt>
                <c:pt idx="327">
                  <c:v>1</c:v>
                </c:pt>
                <c:pt idx="328">
                  <c:v>0</c:v>
                </c:pt>
                <c:pt idx="329">
                  <c:v>2</c:v>
                </c:pt>
                <c:pt idx="330">
                  <c:v>0</c:v>
                </c:pt>
                <c:pt idx="331">
                  <c:v>0</c:v>
                </c:pt>
                <c:pt idx="332">
                  <c:v>4</c:v>
                </c:pt>
                <c:pt idx="333">
                  <c:v>2</c:v>
                </c:pt>
                <c:pt idx="334">
                  <c:v>2</c:v>
                </c:pt>
                <c:pt idx="335">
                  <c:v>0</c:v>
                </c:pt>
                <c:pt idx="336">
                  <c:v>5</c:v>
                </c:pt>
                <c:pt idx="337">
                  <c:v>3</c:v>
                </c:pt>
                <c:pt idx="338">
                  <c:v>2</c:v>
                </c:pt>
                <c:pt idx="339">
                  <c:v>9</c:v>
                </c:pt>
                <c:pt idx="340">
                  <c:v>7</c:v>
                </c:pt>
                <c:pt idx="341">
                  <c:v>5</c:v>
                </c:pt>
                <c:pt idx="342">
                  <c:v>3</c:v>
                </c:pt>
                <c:pt idx="343">
                  <c:v>6</c:v>
                </c:pt>
                <c:pt idx="344">
                  <c:v>1</c:v>
                </c:pt>
                <c:pt idx="345">
                  <c:v>1</c:v>
                </c:pt>
                <c:pt idx="346">
                  <c:v>6</c:v>
                </c:pt>
                <c:pt idx="347">
                  <c:v>8</c:v>
                </c:pt>
                <c:pt idx="348">
                  <c:v>5</c:v>
                </c:pt>
                <c:pt idx="349">
                  <c:v>7</c:v>
                </c:pt>
                <c:pt idx="350">
                  <c:v>2</c:v>
                </c:pt>
                <c:pt idx="351">
                  <c:v>5</c:v>
                </c:pt>
                <c:pt idx="352">
                  <c:v>2</c:v>
                </c:pt>
                <c:pt idx="353">
                  <c:v>7</c:v>
                </c:pt>
                <c:pt idx="354">
                  <c:v>7</c:v>
                </c:pt>
                <c:pt idx="355">
                  <c:v>6</c:v>
                </c:pt>
                <c:pt idx="356">
                  <c:v>14</c:v>
                </c:pt>
                <c:pt idx="357">
                  <c:v>7</c:v>
                </c:pt>
                <c:pt idx="358">
                  <c:v>3</c:v>
                </c:pt>
                <c:pt idx="359">
                  <c:v>3</c:v>
                </c:pt>
                <c:pt idx="360">
                  <c:v>14</c:v>
                </c:pt>
                <c:pt idx="361">
                  <c:v>6</c:v>
                </c:pt>
                <c:pt idx="362">
                  <c:v>17</c:v>
                </c:pt>
                <c:pt idx="363">
                  <c:v>3</c:v>
                </c:pt>
                <c:pt idx="364">
                  <c:v>8</c:v>
                </c:pt>
                <c:pt idx="365">
                  <c:v>1</c:v>
                </c:pt>
                <c:pt idx="366">
                  <c:v>3</c:v>
                </c:pt>
                <c:pt idx="367">
                  <c:v>8</c:v>
                </c:pt>
                <c:pt idx="368">
                  <c:v>4</c:v>
                </c:pt>
                <c:pt idx="369">
                  <c:v>8</c:v>
                </c:pt>
                <c:pt idx="370">
                  <c:v>6</c:v>
                </c:pt>
                <c:pt idx="371">
                  <c:v>5</c:v>
                </c:pt>
                <c:pt idx="372">
                  <c:v>5</c:v>
                </c:pt>
                <c:pt idx="373">
                  <c:v>3</c:v>
                </c:pt>
                <c:pt idx="374">
                  <c:v>10</c:v>
                </c:pt>
                <c:pt idx="375">
                  <c:v>2</c:v>
                </c:pt>
                <c:pt idx="376">
                  <c:v>6</c:v>
                </c:pt>
                <c:pt idx="377">
                  <c:v>5</c:v>
                </c:pt>
                <c:pt idx="378">
                  <c:v>7</c:v>
                </c:pt>
                <c:pt idx="379">
                  <c:v>2</c:v>
                </c:pt>
                <c:pt idx="380">
                  <c:v>0</c:v>
                </c:pt>
                <c:pt idx="381">
                  <c:v>6</c:v>
                </c:pt>
                <c:pt idx="382">
                  <c:v>2</c:v>
                </c:pt>
                <c:pt idx="383">
                  <c:v>2</c:v>
                </c:pt>
                <c:pt idx="384">
                  <c:v>3</c:v>
                </c:pt>
                <c:pt idx="385">
                  <c:v>4</c:v>
                </c:pt>
                <c:pt idx="386">
                  <c:v>0</c:v>
                </c:pt>
                <c:pt idx="387">
                  <c:v>1</c:v>
                </c:pt>
                <c:pt idx="388">
                  <c:v>7</c:v>
                </c:pt>
                <c:pt idx="389">
                  <c:v>3</c:v>
                </c:pt>
                <c:pt idx="390">
                  <c:v>3</c:v>
                </c:pt>
                <c:pt idx="391">
                  <c:v>1</c:v>
                </c:pt>
                <c:pt idx="392">
                  <c:v>1</c:v>
                </c:pt>
                <c:pt idx="393">
                  <c:v>1</c:v>
                </c:pt>
                <c:pt idx="394">
                  <c:v>0</c:v>
                </c:pt>
                <c:pt idx="395">
                  <c:v>3</c:v>
                </c:pt>
                <c:pt idx="396">
                  <c:v>3</c:v>
                </c:pt>
                <c:pt idx="397">
                  <c:v>3</c:v>
                </c:pt>
                <c:pt idx="398">
                  <c:v>0</c:v>
                </c:pt>
                <c:pt idx="399">
                  <c:v>3</c:v>
                </c:pt>
                <c:pt idx="400">
                  <c:v>1</c:v>
                </c:pt>
                <c:pt idx="401">
                  <c:v>0</c:v>
                </c:pt>
                <c:pt idx="402">
                  <c:v>3</c:v>
                </c:pt>
                <c:pt idx="403">
                  <c:v>1</c:v>
                </c:pt>
                <c:pt idx="404">
                  <c:v>3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2</c:v>
                </c:pt>
                <c:pt idx="410">
                  <c:v>0</c:v>
                </c:pt>
                <c:pt idx="411">
                  <c:v>2</c:v>
                </c:pt>
                <c:pt idx="412">
                  <c:v>0</c:v>
                </c:pt>
                <c:pt idx="413">
                  <c:v>5</c:v>
                </c:pt>
                <c:pt idx="414">
                  <c:v>0</c:v>
                </c:pt>
                <c:pt idx="415">
                  <c:v>2</c:v>
                </c:pt>
                <c:pt idx="416">
                  <c:v>3</c:v>
                </c:pt>
                <c:pt idx="417">
                  <c:v>6</c:v>
                </c:pt>
                <c:pt idx="418">
                  <c:v>1</c:v>
                </c:pt>
                <c:pt idx="419">
                  <c:v>2</c:v>
                </c:pt>
                <c:pt idx="420">
                  <c:v>2</c:v>
                </c:pt>
                <c:pt idx="421">
                  <c:v>0</c:v>
                </c:pt>
                <c:pt idx="422">
                  <c:v>1</c:v>
                </c:pt>
                <c:pt idx="423">
                  <c:v>9</c:v>
                </c:pt>
                <c:pt idx="424">
                  <c:v>7</c:v>
                </c:pt>
                <c:pt idx="425">
                  <c:v>8</c:v>
                </c:pt>
                <c:pt idx="426">
                  <c:v>4</c:v>
                </c:pt>
                <c:pt idx="427">
                  <c:v>6</c:v>
                </c:pt>
                <c:pt idx="428">
                  <c:v>2</c:v>
                </c:pt>
                <c:pt idx="429">
                  <c:v>2</c:v>
                </c:pt>
                <c:pt idx="430">
                  <c:v>2</c:v>
                </c:pt>
                <c:pt idx="431">
                  <c:v>10</c:v>
                </c:pt>
                <c:pt idx="432">
                  <c:v>7</c:v>
                </c:pt>
                <c:pt idx="433">
                  <c:v>6</c:v>
                </c:pt>
                <c:pt idx="434">
                  <c:v>12</c:v>
                </c:pt>
                <c:pt idx="435">
                  <c:v>3</c:v>
                </c:pt>
                <c:pt idx="436">
                  <c:v>3</c:v>
                </c:pt>
                <c:pt idx="437">
                  <c:v>5</c:v>
                </c:pt>
                <c:pt idx="438">
                  <c:v>12</c:v>
                </c:pt>
                <c:pt idx="439">
                  <c:v>5</c:v>
                </c:pt>
                <c:pt idx="440">
                  <c:v>7</c:v>
                </c:pt>
                <c:pt idx="441">
                  <c:v>6</c:v>
                </c:pt>
                <c:pt idx="442">
                  <c:v>2</c:v>
                </c:pt>
                <c:pt idx="443">
                  <c:v>2</c:v>
                </c:pt>
                <c:pt idx="444">
                  <c:v>10</c:v>
                </c:pt>
                <c:pt idx="445">
                  <c:v>6</c:v>
                </c:pt>
                <c:pt idx="446">
                  <c:v>8</c:v>
                </c:pt>
                <c:pt idx="447">
                  <c:v>3</c:v>
                </c:pt>
                <c:pt idx="448">
                  <c:v>6</c:v>
                </c:pt>
                <c:pt idx="449">
                  <c:v>1</c:v>
                </c:pt>
                <c:pt idx="450">
                  <c:v>5</c:v>
                </c:pt>
                <c:pt idx="451">
                  <c:v>5</c:v>
                </c:pt>
                <c:pt idx="452">
                  <c:v>14</c:v>
                </c:pt>
                <c:pt idx="453">
                  <c:v>7</c:v>
                </c:pt>
                <c:pt idx="454">
                  <c:v>8</c:v>
                </c:pt>
                <c:pt idx="455">
                  <c:v>4</c:v>
                </c:pt>
                <c:pt idx="456">
                  <c:v>0</c:v>
                </c:pt>
                <c:pt idx="457">
                  <c:v>0</c:v>
                </c:pt>
                <c:pt idx="458">
                  <c:v>5</c:v>
                </c:pt>
                <c:pt idx="459">
                  <c:v>4</c:v>
                </c:pt>
                <c:pt idx="460">
                  <c:v>3</c:v>
                </c:pt>
                <c:pt idx="461">
                  <c:v>1</c:v>
                </c:pt>
                <c:pt idx="462">
                  <c:v>0</c:v>
                </c:pt>
                <c:pt idx="46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40874970922984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65</c:f>
              <c:numCache>
                <c:formatCode>m/d/yyyy</c:formatCode>
                <c:ptCount val="464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8</c:v>
                </c:pt>
                <c:pt idx="238">
                  <c:v>44319</c:v>
                </c:pt>
                <c:pt idx="239">
                  <c:v>44320</c:v>
                </c:pt>
                <c:pt idx="240">
                  <c:v>44321</c:v>
                </c:pt>
                <c:pt idx="241">
                  <c:v>44322</c:v>
                </c:pt>
                <c:pt idx="242">
                  <c:v>44323</c:v>
                </c:pt>
                <c:pt idx="243">
                  <c:v>44324</c:v>
                </c:pt>
                <c:pt idx="244">
                  <c:v>44325</c:v>
                </c:pt>
                <c:pt idx="245">
                  <c:v>44326</c:v>
                </c:pt>
                <c:pt idx="246">
                  <c:v>44327</c:v>
                </c:pt>
                <c:pt idx="247">
                  <c:v>44329</c:v>
                </c:pt>
                <c:pt idx="248">
                  <c:v>44330</c:v>
                </c:pt>
                <c:pt idx="249">
                  <c:v>44331</c:v>
                </c:pt>
                <c:pt idx="250">
                  <c:v>44333</c:v>
                </c:pt>
                <c:pt idx="251">
                  <c:v>44334</c:v>
                </c:pt>
                <c:pt idx="252">
                  <c:v>44335</c:v>
                </c:pt>
                <c:pt idx="253">
                  <c:v>44336</c:v>
                </c:pt>
                <c:pt idx="254">
                  <c:v>44337</c:v>
                </c:pt>
                <c:pt idx="255">
                  <c:v>44340</c:v>
                </c:pt>
                <c:pt idx="256">
                  <c:v>44341</c:v>
                </c:pt>
                <c:pt idx="257">
                  <c:v>44342</c:v>
                </c:pt>
                <c:pt idx="258">
                  <c:v>44343</c:v>
                </c:pt>
                <c:pt idx="259">
                  <c:v>44347</c:v>
                </c:pt>
                <c:pt idx="260">
                  <c:v>44349</c:v>
                </c:pt>
                <c:pt idx="261">
                  <c:v>44350</c:v>
                </c:pt>
                <c:pt idx="262">
                  <c:v>44354</c:v>
                </c:pt>
                <c:pt idx="263">
                  <c:v>44358</c:v>
                </c:pt>
                <c:pt idx="264">
                  <c:v>44364</c:v>
                </c:pt>
                <c:pt idx="265">
                  <c:v>44370</c:v>
                </c:pt>
                <c:pt idx="266">
                  <c:v>44371</c:v>
                </c:pt>
                <c:pt idx="267">
                  <c:v>44375</c:v>
                </c:pt>
                <c:pt idx="268">
                  <c:v>44377</c:v>
                </c:pt>
                <c:pt idx="269">
                  <c:v>44378</c:v>
                </c:pt>
                <c:pt idx="270">
                  <c:v>44381</c:v>
                </c:pt>
                <c:pt idx="271">
                  <c:v>44384</c:v>
                </c:pt>
                <c:pt idx="272">
                  <c:v>44385</c:v>
                </c:pt>
                <c:pt idx="273">
                  <c:v>44388</c:v>
                </c:pt>
                <c:pt idx="274">
                  <c:v>44398</c:v>
                </c:pt>
                <c:pt idx="275">
                  <c:v>44401</c:v>
                </c:pt>
                <c:pt idx="276">
                  <c:v>44404</c:v>
                </c:pt>
                <c:pt idx="277">
                  <c:v>44405</c:v>
                </c:pt>
                <c:pt idx="278">
                  <c:v>44416</c:v>
                </c:pt>
                <c:pt idx="279">
                  <c:v>44419</c:v>
                </c:pt>
                <c:pt idx="280">
                  <c:v>44424</c:v>
                </c:pt>
                <c:pt idx="281">
                  <c:v>44425</c:v>
                </c:pt>
                <c:pt idx="282">
                  <c:v>44427</c:v>
                </c:pt>
                <c:pt idx="283">
                  <c:v>44431</c:v>
                </c:pt>
                <c:pt idx="284">
                  <c:v>44434</c:v>
                </c:pt>
                <c:pt idx="285">
                  <c:v>44435</c:v>
                </c:pt>
                <c:pt idx="286">
                  <c:v>44436</c:v>
                </c:pt>
                <c:pt idx="287">
                  <c:v>44440</c:v>
                </c:pt>
                <c:pt idx="288">
                  <c:v>44441</c:v>
                </c:pt>
                <c:pt idx="289">
                  <c:v>44442</c:v>
                </c:pt>
                <c:pt idx="290">
                  <c:v>44443</c:v>
                </c:pt>
                <c:pt idx="291">
                  <c:v>44445</c:v>
                </c:pt>
                <c:pt idx="292">
                  <c:v>44446</c:v>
                </c:pt>
                <c:pt idx="293">
                  <c:v>44447</c:v>
                </c:pt>
                <c:pt idx="294">
                  <c:v>44448</c:v>
                </c:pt>
                <c:pt idx="295">
                  <c:v>44449</c:v>
                </c:pt>
                <c:pt idx="296">
                  <c:v>44451</c:v>
                </c:pt>
                <c:pt idx="297">
                  <c:v>44452</c:v>
                </c:pt>
                <c:pt idx="298">
                  <c:v>44453</c:v>
                </c:pt>
                <c:pt idx="299">
                  <c:v>44457</c:v>
                </c:pt>
                <c:pt idx="300">
                  <c:v>44459</c:v>
                </c:pt>
                <c:pt idx="301">
                  <c:v>44460</c:v>
                </c:pt>
                <c:pt idx="302">
                  <c:v>44461</c:v>
                </c:pt>
                <c:pt idx="303">
                  <c:v>44464</c:v>
                </c:pt>
                <c:pt idx="304">
                  <c:v>44465</c:v>
                </c:pt>
                <c:pt idx="305">
                  <c:v>44466</c:v>
                </c:pt>
                <c:pt idx="306">
                  <c:v>44467</c:v>
                </c:pt>
                <c:pt idx="307">
                  <c:v>44468</c:v>
                </c:pt>
                <c:pt idx="308">
                  <c:v>44469</c:v>
                </c:pt>
                <c:pt idx="309">
                  <c:v>44470</c:v>
                </c:pt>
                <c:pt idx="310">
                  <c:v>44471</c:v>
                </c:pt>
                <c:pt idx="311">
                  <c:v>44472</c:v>
                </c:pt>
                <c:pt idx="312">
                  <c:v>44473</c:v>
                </c:pt>
                <c:pt idx="313">
                  <c:v>44474</c:v>
                </c:pt>
                <c:pt idx="314">
                  <c:v>44475</c:v>
                </c:pt>
                <c:pt idx="315">
                  <c:v>44476</c:v>
                </c:pt>
                <c:pt idx="316">
                  <c:v>44477</c:v>
                </c:pt>
                <c:pt idx="317">
                  <c:v>44478</c:v>
                </c:pt>
                <c:pt idx="318">
                  <c:v>44480</c:v>
                </c:pt>
                <c:pt idx="319">
                  <c:v>44481</c:v>
                </c:pt>
                <c:pt idx="320">
                  <c:v>44482</c:v>
                </c:pt>
                <c:pt idx="321">
                  <c:v>44483</c:v>
                </c:pt>
                <c:pt idx="322">
                  <c:v>44484</c:v>
                </c:pt>
                <c:pt idx="323">
                  <c:v>44485</c:v>
                </c:pt>
                <c:pt idx="324">
                  <c:v>44486</c:v>
                </c:pt>
                <c:pt idx="325">
                  <c:v>44487</c:v>
                </c:pt>
                <c:pt idx="326">
                  <c:v>44488</c:v>
                </c:pt>
                <c:pt idx="327">
                  <c:v>44489</c:v>
                </c:pt>
                <c:pt idx="328">
                  <c:v>44490</c:v>
                </c:pt>
                <c:pt idx="329">
                  <c:v>44491</c:v>
                </c:pt>
                <c:pt idx="330">
                  <c:v>44492</c:v>
                </c:pt>
                <c:pt idx="331">
                  <c:v>44493</c:v>
                </c:pt>
                <c:pt idx="332">
                  <c:v>44494</c:v>
                </c:pt>
                <c:pt idx="333">
                  <c:v>44495</c:v>
                </c:pt>
                <c:pt idx="334">
                  <c:v>44496</c:v>
                </c:pt>
                <c:pt idx="335">
                  <c:v>44497</c:v>
                </c:pt>
                <c:pt idx="336">
                  <c:v>44498</c:v>
                </c:pt>
                <c:pt idx="337">
                  <c:v>44499</c:v>
                </c:pt>
                <c:pt idx="338">
                  <c:v>44500</c:v>
                </c:pt>
                <c:pt idx="339">
                  <c:v>44501</c:v>
                </c:pt>
                <c:pt idx="340">
                  <c:v>44502</c:v>
                </c:pt>
                <c:pt idx="341">
                  <c:v>44503</c:v>
                </c:pt>
                <c:pt idx="342">
                  <c:v>44504</c:v>
                </c:pt>
                <c:pt idx="343">
                  <c:v>44505</c:v>
                </c:pt>
                <c:pt idx="344">
                  <c:v>44506</c:v>
                </c:pt>
                <c:pt idx="345">
                  <c:v>44507</c:v>
                </c:pt>
                <c:pt idx="346">
                  <c:v>44508</c:v>
                </c:pt>
                <c:pt idx="347">
                  <c:v>44509</c:v>
                </c:pt>
                <c:pt idx="348">
                  <c:v>44510</c:v>
                </c:pt>
                <c:pt idx="349">
                  <c:v>44511</c:v>
                </c:pt>
                <c:pt idx="350">
                  <c:v>44512</c:v>
                </c:pt>
                <c:pt idx="351">
                  <c:v>44513</c:v>
                </c:pt>
                <c:pt idx="352">
                  <c:v>44514</c:v>
                </c:pt>
                <c:pt idx="353">
                  <c:v>44515</c:v>
                </c:pt>
                <c:pt idx="354">
                  <c:v>44516</c:v>
                </c:pt>
                <c:pt idx="355">
                  <c:v>44517</c:v>
                </c:pt>
                <c:pt idx="356">
                  <c:v>44518</c:v>
                </c:pt>
                <c:pt idx="357">
                  <c:v>44519</c:v>
                </c:pt>
                <c:pt idx="358">
                  <c:v>44520</c:v>
                </c:pt>
                <c:pt idx="359">
                  <c:v>44521</c:v>
                </c:pt>
                <c:pt idx="360">
                  <c:v>44522</c:v>
                </c:pt>
                <c:pt idx="361">
                  <c:v>44523</c:v>
                </c:pt>
                <c:pt idx="362">
                  <c:v>44524</c:v>
                </c:pt>
                <c:pt idx="363">
                  <c:v>44525</c:v>
                </c:pt>
                <c:pt idx="364">
                  <c:v>44526</c:v>
                </c:pt>
                <c:pt idx="365">
                  <c:v>44527</c:v>
                </c:pt>
                <c:pt idx="366">
                  <c:v>44528</c:v>
                </c:pt>
                <c:pt idx="367">
                  <c:v>44529</c:v>
                </c:pt>
                <c:pt idx="368">
                  <c:v>44530</c:v>
                </c:pt>
                <c:pt idx="369">
                  <c:v>44531</c:v>
                </c:pt>
                <c:pt idx="370">
                  <c:v>44532</c:v>
                </c:pt>
                <c:pt idx="371">
                  <c:v>44533</c:v>
                </c:pt>
                <c:pt idx="372">
                  <c:v>44534</c:v>
                </c:pt>
                <c:pt idx="373">
                  <c:v>44535</c:v>
                </c:pt>
                <c:pt idx="374">
                  <c:v>44536</c:v>
                </c:pt>
                <c:pt idx="375">
                  <c:v>44537</c:v>
                </c:pt>
                <c:pt idx="376">
                  <c:v>44538</c:v>
                </c:pt>
                <c:pt idx="377">
                  <c:v>44539</c:v>
                </c:pt>
                <c:pt idx="378">
                  <c:v>44540</c:v>
                </c:pt>
                <c:pt idx="379">
                  <c:v>44541</c:v>
                </c:pt>
                <c:pt idx="380">
                  <c:v>44542</c:v>
                </c:pt>
                <c:pt idx="381">
                  <c:v>44543</c:v>
                </c:pt>
                <c:pt idx="382">
                  <c:v>44544</c:v>
                </c:pt>
                <c:pt idx="383">
                  <c:v>44545</c:v>
                </c:pt>
                <c:pt idx="384">
                  <c:v>44546</c:v>
                </c:pt>
                <c:pt idx="385">
                  <c:v>44547</c:v>
                </c:pt>
                <c:pt idx="386">
                  <c:v>44548</c:v>
                </c:pt>
                <c:pt idx="387">
                  <c:v>44549</c:v>
                </c:pt>
                <c:pt idx="388">
                  <c:v>44550</c:v>
                </c:pt>
                <c:pt idx="389">
                  <c:v>44551</c:v>
                </c:pt>
                <c:pt idx="390">
                  <c:v>44552</c:v>
                </c:pt>
                <c:pt idx="391">
                  <c:v>44553</c:v>
                </c:pt>
                <c:pt idx="392">
                  <c:v>44554</c:v>
                </c:pt>
                <c:pt idx="393">
                  <c:v>44555</c:v>
                </c:pt>
                <c:pt idx="394">
                  <c:v>44556</c:v>
                </c:pt>
                <c:pt idx="395">
                  <c:v>44557</c:v>
                </c:pt>
                <c:pt idx="396">
                  <c:v>44558</c:v>
                </c:pt>
                <c:pt idx="397">
                  <c:v>44559</c:v>
                </c:pt>
                <c:pt idx="398">
                  <c:v>44560</c:v>
                </c:pt>
                <c:pt idx="399">
                  <c:v>44561</c:v>
                </c:pt>
                <c:pt idx="400">
                  <c:v>44562</c:v>
                </c:pt>
                <c:pt idx="401">
                  <c:v>44563</c:v>
                </c:pt>
                <c:pt idx="402">
                  <c:v>44564</c:v>
                </c:pt>
                <c:pt idx="403">
                  <c:v>44565</c:v>
                </c:pt>
                <c:pt idx="404">
                  <c:v>44566</c:v>
                </c:pt>
                <c:pt idx="405">
                  <c:v>44567</c:v>
                </c:pt>
                <c:pt idx="406">
                  <c:v>44568</c:v>
                </c:pt>
                <c:pt idx="407">
                  <c:v>44569</c:v>
                </c:pt>
                <c:pt idx="408">
                  <c:v>44570</c:v>
                </c:pt>
                <c:pt idx="409">
                  <c:v>44571</c:v>
                </c:pt>
                <c:pt idx="410">
                  <c:v>44572</c:v>
                </c:pt>
                <c:pt idx="411">
                  <c:v>44573</c:v>
                </c:pt>
                <c:pt idx="412">
                  <c:v>44574</c:v>
                </c:pt>
                <c:pt idx="413">
                  <c:v>44575</c:v>
                </c:pt>
                <c:pt idx="414">
                  <c:v>44576</c:v>
                </c:pt>
                <c:pt idx="415">
                  <c:v>44577</c:v>
                </c:pt>
                <c:pt idx="416">
                  <c:v>44578</c:v>
                </c:pt>
                <c:pt idx="417">
                  <c:v>44579</c:v>
                </c:pt>
                <c:pt idx="418">
                  <c:v>44580</c:v>
                </c:pt>
                <c:pt idx="419">
                  <c:v>44581</c:v>
                </c:pt>
                <c:pt idx="420">
                  <c:v>44582</c:v>
                </c:pt>
                <c:pt idx="421">
                  <c:v>44583</c:v>
                </c:pt>
                <c:pt idx="422">
                  <c:v>44584</c:v>
                </c:pt>
                <c:pt idx="423">
                  <c:v>44585</c:v>
                </c:pt>
                <c:pt idx="424">
                  <c:v>44586</c:v>
                </c:pt>
                <c:pt idx="425">
                  <c:v>44587</c:v>
                </c:pt>
                <c:pt idx="426">
                  <c:v>44588</c:v>
                </c:pt>
                <c:pt idx="427">
                  <c:v>44589</c:v>
                </c:pt>
                <c:pt idx="428">
                  <c:v>44590</c:v>
                </c:pt>
                <c:pt idx="429">
                  <c:v>44591</c:v>
                </c:pt>
                <c:pt idx="430">
                  <c:v>44592</c:v>
                </c:pt>
                <c:pt idx="431">
                  <c:v>44593</c:v>
                </c:pt>
                <c:pt idx="432">
                  <c:v>44594</c:v>
                </c:pt>
                <c:pt idx="433">
                  <c:v>44595</c:v>
                </c:pt>
                <c:pt idx="434">
                  <c:v>44596</c:v>
                </c:pt>
                <c:pt idx="435">
                  <c:v>44597</c:v>
                </c:pt>
                <c:pt idx="436">
                  <c:v>44598</c:v>
                </c:pt>
                <c:pt idx="437">
                  <c:v>44599</c:v>
                </c:pt>
                <c:pt idx="438">
                  <c:v>44600</c:v>
                </c:pt>
                <c:pt idx="439">
                  <c:v>44601</c:v>
                </c:pt>
                <c:pt idx="440">
                  <c:v>44602</c:v>
                </c:pt>
                <c:pt idx="441">
                  <c:v>44603</c:v>
                </c:pt>
                <c:pt idx="442">
                  <c:v>44604</c:v>
                </c:pt>
                <c:pt idx="443">
                  <c:v>44605</c:v>
                </c:pt>
                <c:pt idx="444">
                  <c:v>44606</c:v>
                </c:pt>
                <c:pt idx="445">
                  <c:v>44607</c:v>
                </c:pt>
                <c:pt idx="446">
                  <c:v>44608</c:v>
                </c:pt>
                <c:pt idx="447">
                  <c:v>44609</c:v>
                </c:pt>
                <c:pt idx="448">
                  <c:v>44610</c:v>
                </c:pt>
                <c:pt idx="449">
                  <c:v>44611</c:v>
                </c:pt>
                <c:pt idx="450">
                  <c:v>44612</c:v>
                </c:pt>
                <c:pt idx="451">
                  <c:v>44613</c:v>
                </c:pt>
                <c:pt idx="452">
                  <c:v>44614</c:v>
                </c:pt>
                <c:pt idx="453">
                  <c:v>44615</c:v>
                </c:pt>
                <c:pt idx="454">
                  <c:v>44616</c:v>
                </c:pt>
                <c:pt idx="455">
                  <c:v>44617</c:v>
                </c:pt>
                <c:pt idx="456">
                  <c:v>44618</c:v>
                </c:pt>
                <c:pt idx="457">
                  <c:v>44619</c:v>
                </c:pt>
                <c:pt idx="458">
                  <c:v>44620</c:v>
                </c:pt>
                <c:pt idx="459">
                  <c:v>44621</c:v>
                </c:pt>
                <c:pt idx="460">
                  <c:v>44622</c:v>
                </c:pt>
                <c:pt idx="461">
                  <c:v>44623</c:v>
                </c:pt>
                <c:pt idx="462">
                  <c:v>44624</c:v>
                </c:pt>
                <c:pt idx="463">
                  <c:v>44625</c:v>
                </c:pt>
              </c:numCache>
            </c:numRef>
          </c:cat>
          <c:val>
            <c:numRef>
              <c:f>Sheet1!$B$2:$B$465</c:f>
              <c:numCache>
                <c:formatCode>General</c:formatCode>
                <c:ptCount val="46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3</c:v>
                </c:pt>
                <c:pt idx="24">
                  <c:v>1</c:v>
                </c:pt>
                <c:pt idx="25">
                  <c:v>4</c:v>
                </c:pt>
                <c:pt idx="26">
                  <c:v>4</c:v>
                </c:pt>
                <c:pt idx="27">
                  <c:v>7</c:v>
                </c:pt>
                <c:pt idx="28">
                  <c:v>5</c:v>
                </c:pt>
                <c:pt idx="29">
                  <c:v>5</c:v>
                </c:pt>
                <c:pt idx="30">
                  <c:v>23</c:v>
                </c:pt>
                <c:pt idx="31">
                  <c:v>8</c:v>
                </c:pt>
                <c:pt idx="32">
                  <c:v>7</c:v>
                </c:pt>
                <c:pt idx="33">
                  <c:v>2</c:v>
                </c:pt>
                <c:pt idx="34">
                  <c:v>7</c:v>
                </c:pt>
                <c:pt idx="35">
                  <c:v>3</c:v>
                </c:pt>
                <c:pt idx="36">
                  <c:v>0</c:v>
                </c:pt>
                <c:pt idx="37">
                  <c:v>8</c:v>
                </c:pt>
                <c:pt idx="38">
                  <c:v>13</c:v>
                </c:pt>
                <c:pt idx="39">
                  <c:v>13</c:v>
                </c:pt>
                <c:pt idx="40">
                  <c:v>15</c:v>
                </c:pt>
                <c:pt idx="41">
                  <c:v>18</c:v>
                </c:pt>
                <c:pt idx="42">
                  <c:v>9</c:v>
                </c:pt>
                <c:pt idx="43">
                  <c:v>5</c:v>
                </c:pt>
                <c:pt idx="44">
                  <c:v>18</c:v>
                </c:pt>
                <c:pt idx="45">
                  <c:v>15</c:v>
                </c:pt>
                <c:pt idx="46">
                  <c:v>21</c:v>
                </c:pt>
                <c:pt idx="47">
                  <c:v>18</c:v>
                </c:pt>
                <c:pt idx="48">
                  <c:v>28</c:v>
                </c:pt>
                <c:pt idx="49">
                  <c:v>7</c:v>
                </c:pt>
                <c:pt idx="50">
                  <c:v>7</c:v>
                </c:pt>
                <c:pt idx="51">
                  <c:v>28</c:v>
                </c:pt>
                <c:pt idx="52">
                  <c:v>19</c:v>
                </c:pt>
                <c:pt idx="53">
                  <c:v>11</c:v>
                </c:pt>
                <c:pt idx="54">
                  <c:v>21</c:v>
                </c:pt>
                <c:pt idx="55">
                  <c:v>27</c:v>
                </c:pt>
                <c:pt idx="56">
                  <c:v>9</c:v>
                </c:pt>
                <c:pt idx="57">
                  <c:v>14</c:v>
                </c:pt>
                <c:pt idx="58">
                  <c:v>15</c:v>
                </c:pt>
                <c:pt idx="59">
                  <c:v>13</c:v>
                </c:pt>
                <c:pt idx="60">
                  <c:v>22</c:v>
                </c:pt>
                <c:pt idx="61">
                  <c:v>9</c:v>
                </c:pt>
                <c:pt idx="62">
                  <c:v>16</c:v>
                </c:pt>
                <c:pt idx="63">
                  <c:v>10</c:v>
                </c:pt>
                <c:pt idx="64">
                  <c:v>7</c:v>
                </c:pt>
                <c:pt idx="65">
                  <c:v>10</c:v>
                </c:pt>
                <c:pt idx="66">
                  <c:v>16</c:v>
                </c:pt>
                <c:pt idx="67">
                  <c:v>25</c:v>
                </c:pt>
                <c:pt idx="68">
                  <c:v>14</c:v>
                </c:pt>
                <c:pt idx="69">
                  <c:v>20</c:v>
                </c:pt>
                <c:pt idx="70">
                  <c:v>9</c:v>
                </c:pt>
                <c:pt idx="71">
                  <c:v>5</c:v>
                </c:pt>
                <c:pt idx="72">
                  <c:v>18</c:v>
                </c:pt>
                <c:pt idx="73">
                  <c:v>9</c:v>
                </c:pt>
                <c:pt idx="74">
                  <c:v>12</c:v>
                </c:pt>
                <c:pt idx="75">
                  <c:v>12</c:v>
                </c:pt>
                <c:pt idx="76">
                  <c:v>13</c:v>
                </c:pt>
                <c:pt idx="77">
                  <c:v>4</c:v>
                </c:pt>
                <c:pt idx="78">
                  <c:v>3</c:v>
                </c:pt>
                <c:pt idx="79">
                  <c:v>15</c:v>
                </c:pt>
                <c:pt idx="80">
                  <c:v>9</c:v>
                </c:pt>
                <c:pt idx="81">
                  <c:v>9</c:v>
                </c:pt>
                <c:pt idx="82">
                  <c:v>10</c:v>
                </c:pt>
                <c:pt idx="83">
                  <c:v>5</c:v>
                </c:pt>
                <c:pt idx="84">
                  <c:v>1</c:v>
                </c:pt>
                <c:pt idx="85">
                  <c:v>2</c:v>
                </c:pt>
                <c:pt idx="86">
                  <c:v>10</c:v>
                </c:pt>
                <c:pt idx="87">
                  <c:v>9</c:v>
                </c:pt>
                <c:pt idx="88">
                  <c:v>5</c:v>
                </c:pt>
                <c:pt idx="89">
                  <c:v>3</c:v>
                </c:pt>
                <c:pt idx="90">
                  <c:v>9</c:v>
                </c:pt>
                <c:pt idx="91">
                  <c:v>3</c:v>
                </c:pt>
                <c:pt idx="92">
                  <c:v>1</c:v>
                </c:pt>
                <c:pt idx="93">
                  <c:v>3</c:v>
                </c:pt>
                <c:pt idx="94">
                  <c:v>4</c:v>
                </c:pt>
                <c:pt idx="95">
                  <c:v>6</c:v>
                </c:pt>
                <c:pt idx="96">
                  <c:v>6</c:v>
                </c:pt>
                <c:pt idx="97">
                  <c:v>6</c:v>
                </c:pt>
                <c:pt idx="98">
                  <c:v>3</c:v>
                </c:pt>
                <c:pt idx="99">
                  <c:v>3</c:v>
                </c:pt>
                <c:pt idx="100">
                  <c:v>4</c:v>
                </c:pt>
                <c:pt idx="101">
                  <c:v>3</c:v>
                </c:pt>
                <c:pt idx="102">
                  <c:v>6</c:v>
                </c:pt>
                <c:pt idx="103">
                  <c:v>4</c:v>
                </c:pt>
                <c:pt idx="104">
                  <c:v>7</c:v>
                </c:pt>
                <c:pt idx="105">
                  <c:v>6</c:v>
                </c:pt>
                <c:pt idx="106">
                  <c:v>1</c:v>
                </c:pt>
                <c:pt idx="107">
                  <c:v>5</c:v>
                </c:pt>
                <c:pt idx="108">
                  <c:v>10</c:v>
                </c:pt>
                <c:pt idx="109">
                  <c:v>2</c:v>
                </c:pt>
                <c:pt idx="110">
                  <c:v>1</c:v>
                </c:pt>
                <c:pt idx="111">
                  <c:v>6</c:v>
                </c:pt>
                <c:pt idx="112">
                  <c:v>5</c:v>
                </c:pt>
                <c:pt idx="113">
                  <c:v>7</c:v>
                </c:pt>
                <c:pt idx="114">
                  <c:v>4</c:v>
                </c:pt>
                <c:pt idx="115">
                  <c:v>6</c:v>
                </c:pt>
                <c:pt idx="116">
                  <c:v>8</c:v>
                </c:pt>
                <c:pt idx="117">
                  <c:v>7</c:v>
                </c:pt>
                <c:pt idx="118">
                  <c:v>4</c:v>
                </c:pt>
                <c:pt idx="119">
                  <c:v>5</c:v>
                </c:pt>
                <c:pt idx="120">
                  <c:v>1</c:v>
                </c:pt>
                <c:pt idx="121">
                  <c:v>9</c:v>
                </c:pt>
                <c:pt idx="122">
                  <c:v>5</c:v>
                </c:pt>
                <c:pt idx="123">
                  <c:v>4</c:v>
                </c:pt>
                <c:pt idx="124">
                  <c:v>7</c:v>
                </c:pt>
                <c:pt idx="125">
                  <c:v>8</c:v>
                </c:pt>
                <c:pt idx="126">
                  <c:v>3</c:v>
                </c:pt>
                <c:pt idx="127">
                  <c:v>2</c:v>
                </c:pt>
                <c:pt idx="128">
                  <c:v>8</c:v>
                </c:pt>
                <c:pt idx="129">
                  <c:v>4</c:v>
                </c:pt>
                <c:pt idx="130">
                  <c:v>3</c:v>
                </c:pt>
                <c:pt idx="131">
                  <c:v>3</c:v>
                </c:pt>
                <c:pt idx="132">
                  <c:v>12</c:v>
                </c:pt>
                <c:pt idx="133">
                  <c:v>4</c:v>
                </c:pt>
                <c:pt idx="134">
                  <c:v>2</c:v>
                </c:pt>
                <c:pt idx="135">
                  <c:v>6</c:v>
                </c:pt>
                <c:pt idx="136">
                  <c:v>4</c:v>
                </c:pt>
                <c:pt idx="137">
                  <c:v>8</c:v>
                </c:pt>
                <c:pt idx="138">
                  <c:v>5</c:v>
                </c:pt>
                <c:pt idx="139">
                  <c:v>5</c:v>
                </c:pt>
                <c:pt idx="140">
                  <c:v>0</c:v>
                </c:pt>
                <c:pt idx="141">
                  <c:v>3</c:v>
                </c:pt>
                <c:pt idx="142">
                  <c:v>7</c:v>
                </c:pt>
                <c:pt idx="143">
                  <c:v>1</c:v>
                </c:pt>
                <c:pt idx="144">
                  <c:v>2</c:v>
                </c:pt>
                <c:pt idx="145">
                  <c:v>3</c:v>
                </c:pt>
                <c:pt idx="146">
                  <c:v>1</c:v>
                </c:pt>
                <c:pt idx="147">
                  <c:v>2</c:v>
                </c:pt>
                <c:pt idx="148">
                  <c:v>1</c:v>
                </c:pt>
                <c:pt idx="149">
                  <c:v>3</c:v>
                </c:pt>
                <c:pt idx="150">
                  <c:v>3</c:v>
                </c:pt>
                <c:pt idx="151">
                  <c:v>2</c:v>
                </c:pt>
                <c:pt idx="152">
                  <c:v>4</c:v>
                </c:pt>
                <c:pt idx="153">
                  <c:v>2</c:v>
                </c:pt>
                <c:pt idx="154">
                  <c:v>4</c:v>
                </c:pt>
                <c:pt idx="155">
                  <c:v>1</c:v>
                </c:pt>
                <c:pt idx="156">
                  <c:v>3</c:v>
                </c:pt>
                <c:pt idx="157">
                  <c:v>2</c:v>
                </c:pt>
                <c:pt idx="158">
                  <c:v>2</c:v>
                </c:pt>
                <c:pt idx="159">
                  <c:v>3</c:v>
                </c:pt>
                <c:pt idx="160">
                  <c:v>3</c:v>
                </c:pt>
                <c:pt idx="161">
                  <c:v>0</c:v>
                </c:pt>
                <c:pt idx="162">
                  <c:v>1</c:v>
                </c:pt>
                <c:pt idx="163">
                  <c:v>2</c:v>
                </c:pt>
                <c:pt idx="164">
                  <c:v>2</c:v>
                </c:pt>
                <c:pt idx="165">
                  <c:v>3</c:v>
                </c:pt>
                <c:pt idx="166">
                  <c:v>2</c:v>
                </c:pt>
                <c:pt idx="167">
                  <c:v>0</c:v>
                </c:pt>
                <c:pt idx="168">
                  <c:v>6</c:v>
                </c:pt>
                <c:pt idx="169">
                  <c:v>1</c:v>
                </c:pt>
                <c:pt idx="170">
                  <c:v>1</c:v>
                </c:pt>
                <c:pt idx="171">
                  <c:v>4</c:v>
                </c:pt>
                <c:pt idx="172">
                  <c:v>1</c:v>
                </c:pt>
                <c:pt idx="173">
                  <c:v>0</c:v>
                </c:pt>
                <c:pt idx="174">
                  <c:v>1</c:v>
                </c:pt>
                <c:pt idx="175">
                  <c:v>1</c:v>
                </c:pt>
                <c:pt idx="176">
                  <c:v>0</c:v>
                </c:pt>
                <c:pt idx="177">
                  <c:v>2</c:v>
                </c:pt>
                <c:pt idx="178">
                  <c:v>4</c:v>
                </c:pt>
                <c:pt idx="179">
                  <c:v>1</c:v>
                </c:pt>
                <c:pt idx="180">
                  <c:v>1</c:v>
                </c:pt>
                <c:pt idx="181">
                  <c:v>3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2</c:v>
                </c:pt>
                <c:pt idx="186">
                  <c:v>4</c:v>
                </c:pt>
                <c:pt idx="187">
                  <c:v>1</c:v>
                </c:pt>
                <c:pt idx="188">
                  <c:v>0</c:v>
                </c:pt>
                <c:pt idx="189">
                  <c:v>1</c:v>
                </c:pt>
                <c:pt idx="190">
                  <c:v>1</c:v>
                </c:pt>
                <c:pt idx="191">
                  <c:v>0</c:v>
                </c:pt>
                <c:pt idx="192">
                  <c:v>2</c:v>
                </c:pt>
                <c:pt idx="193">
                  <c:v>1</c:v>
                </c:pt>
                <c:pt idx="194">
                  <c:v>3</c:v>
                </c:pt>
                <c:pt idx="195">
                  <c:v>0</c:v>
                </c:pt>
                <c:pt idx="196">
                  <c:v>1</c:v>
                </c:pt>
                <c:pt idx="197">
                  <c:v>1</c:v>
                </c:pt>
                <c:pt idx="198">
                  <c:v>1</c:v>
                </c:pt>
                <c:pt idx="199">
                  <c:v>1</c:v>
                </c:pt>
                <c:pt idx="200">
                  <c:v>1</c:v>
                </c:pt>
                <c:pt idx="201">
                  <c:v>2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1</c:v>
                </c:pt>
                <c:pt idx="207">
                  <c:v>1</c:v>
                </c:pt>
                <c:pt idx="208">
                  <c:v>0</c:v>
                </c:pt>
                <c:pt idx="209">
                  <c:v>0</c:v>
                </c:pt>
                <c:pt idx="210">
                  <c:v>1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2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2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2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1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1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1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1</c:v>
                </c:pt>
                <c:pt idx="315">
                  <c:v>1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1</c:v>
                </c:pt>
                <c:pt idx="320">
                  <c:v>1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3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0</c:v>
                </c:pt>
                <c:pt idx="331">
                  <c:v>0</c:v>
                </c:pt>
                <c:pt idx="332">
                  <c:v>1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1</c:v>
                </c:pt>
                <c:pt idx="337">
                  <c:v>0</c:v>
                </c:pt>
                <c:pt idx="338">
                  <c:v>1</c:v>
                </c:pt>
                <c:pt idx="339">
                  <c:v>2</c:v>
                </c:pt>
                <c:pt idx="340">
                  <c:v>2</c:v>
                </c:pt>
                <c:pt idx="341">
                  <c:v>1</c:v>
                </c:pt>
                <c:pt idx="342">
                  <c:v>0</c:v>
                </c:pt>
                <c:pt idx="343">
                  <c:v>1</c:v>
                </c:pt>
                <c:pt idx="344">
                  <c:v>0</c:v>
                </c:pt>
                <c:pt idx="345">
                  <c:v>1</c:v>
                </c:pt>
                <c:pt idx="346">
                  <c:v>0</c:v>
                </c:pt>
                <c:pt idx="347">
                  <c:v>3</c:v>
                </c:pt>
                <c:pt idx="348">
                  <c:v>0</c:v>
                </c:pt>
                <c:pt idx="349">
                  <c:v>1</c:v>
                </c:pt>
                <c:pt idx="350">
                  <c:v>0</c:v>
                </c:pt>
                <c:pt idx="351">
                  <c:v>2</c:v>
                </c:pt>
                <c:pt idx="352">
                  <c:v>2</c:v>
                </c:pt>
                <c:pt idx="353">
                  <c:v>1</c:v>
                </c:pt>
                <c:pt idx="354">
                  <c:v>1</c:v>
                </c:pt>
                <c:pt idx="355">
                  <c:v>0</c:v>
                </c:pt>
                <c:pt idx="356">
                  <c:v>7</c:v>
                </c:pt>
                <c:pt idx="357">
                  <c:v>3</c:v>
                </c:pt>
                <c:pt idx="358">
                  <c:v>1</c:v>
                </c:pt>
                <c:pt idx="359">
                  <c:v>2</c:v>
                </c:pt>
                <c:pt idx="360">
                  <c:v>2</c:v>
                </c:pt>
                <c:pt idx="361">
                  <c:v>0</c:v>
                </c:pt>
                <c:pt idx="362">
                  <c:v>5</c:v>
                </c:pt>
                <c:pt idx="363">
                  <c:v>0</c:v>
                </c:pt>
                <c:pt idx="364">
                  <c:v>1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1</c:v>
                </c:pt>
                <c:pt idx="370">
                  <c:v>1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1</c:v>
                </c:pt>
                <c:pt idx="375">
                  <c:v>0</c:v>
                </c:pt>
                <c:pt idx="376">
                  <c:v>1</c:v>
                </c:pt>
                <c:pt idx="377">
                  <c:v>2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1</c:v>
                </c:pt>
                <c:pt idx="386">
                  <c:v>0</c:v>
                </c:pt>
                <c:pt idx="387">
                  <c:v>0</c:v>
                </c:pt>
                <c:pt idx="388">
                  <c:v>2</c:v>
                </c:pt>
                <c:pt idx="389">
                  <c:v>0</c:v>
                </c:pt>
                <c:pt idx="390">
                  <c:v>1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1</c:v>
                </c:pt>
                <c:pt idx="403">
                  <c:v>0</c:v>
                </c:pt>
                <c:pt idx="404">
                  <c:v>1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1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3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3</c:v>
                </c:pt>
                <c:pt idx="426">
                  <c:v>0</c:v>
                </c:pt>
                <c:pt idx="427">
                  <c:v>1</c:v>
                </c:pt>
                <c:pt idx="428">
                  <c:v>0</c:v>
                </c:pt>
                <c:pt idx="429">
                  <c:v>0</c:v>
                </c:pt>
                <c:pt idx="430">
                  <c:v>1</c:v>
                </c:pt>
                <c:pt idx="431">
                  <c:v>4</c:v>
                </c:pt>
                <c:pt idx="432">
                  <c:v>1</c:v>
                </c:pt>
                <c:pt idx="433">
                  <c:v>2</c:v>
                </c:pt>
                <c:pt idx="434">
                  <c:v>2</c:v>
                </c:pt>
                <c:pt idx="435">
                  <c:v>1</c:v>
                </c:pt>
                <c:pt idx="436">
                  <c:v>1</c:v>
                </c:pt>
                <c:pt idx="437">
                  <c:v>1</c:v>
                </c:pt>
                <c:pt idx="438">
                  <c:v>1</c:v>
                </c:pt>
                <c:pt idx="439">
                  <c:v>0</c:v>
                </c:pt>
                <c:pt idx="440">
                  <c:v>0</c:v>
                </c:pt>
                <c:pt idx="441">
                  <c:v>1</c:v>
                </c:pt>
                <c:pt idx="442">
                  <c:v>1</c:v>
                </c:pt>
                <c:pt idx="443">
                  <c:v>0</c:v>
                </c:pt>
                <c:pt idx="444">
                  <c:v>1</c:v>
                </c:pt>
                <c:pt idx="445">
                  <c:v>1</c:v>
                </c:pt>
                <c:pt idx="446">
                  <c:v>0</c:v>
                </c:pt>
                <c:pt idx="447">
                  <c:v>1</c:v>
                </c:pt>
                <c:pt idx="448">
                  <c:v>1</c:v>
                </c:pt>
                <c:pt idx="449">
                  <c:v>0</c:v>
                </c:pt>
                <c:pt idx="450">
                  <c:v>1</c:v>
                </c:pt>
                <c:pt idx="451">
                  <c:v>1</c:v>
                </c:pt>
                <c:pt idx="452">
                  <c:v>3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1</c:v>
                </c:pt>
                <c:pt idx="460">
                  <c:v>1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13</c:v>
                </c:pt>
                <c:pt idx="1">
                  <c:v>90</c:v>
                </c:pt>
                <c:pt idx="2">
                  <c:v>107</c:v>
                </c:pt>
                <c:pt idx="3">
                  <c:v>119</c:v>
                </c:pt>
                <c:pt idx="4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11.–
5.12.</c:v>
                </c:pt>
                <c:pt idx="1">
                  <c:v>6.12.–
12.12.</c:v>
                </c:pt>
                <c:pt idx="2">
                  <c:v>13.12.–
19.12.</c:v>
                </c:pt>
                <c:pt idx="3">
                  <c:v>20.12.–
26.12.</c:v>
                </c:pt>
                <c:pt idx="4">
                  <c:v>27.12.–
2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05</c:v>
                </c:pt>
                <c:pt idx="1">
                  <c:v>173</c:v>
                </c:pt>
                <c:pt idx="2">
                  <c:v>106</c:v>
                </c:pt>
                <c:pt idx="3">
                  <c:v>70</c:v>
                </c:pt>
                <c:pt idx="4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12.–
2.1.</c:v>
                </c:pt>
                <c:pt idx="1">
                  <c:v>3.1.–
9.1.</c:v>
                </c:pt>
                <c:pt idx="2">
                  <c:v>10.1.–
16.1.</c:v>
                </c:pt>
                <c:pt idx="3">
                  <c:v>17.1.–
23.1.</c:v>
                </c:pt>
                <c:pt idx="4">
                  <c:v>24.1.–
30.1.</c:v>
                </c:pt>
                <c:pt idx="5">
                  <c:v>31.1.–
6.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4</c:v>
                </c:pt>
                <c:pt idx="1">
                  <c:v>46</c:v>
                </c:pt>
                <c:pt idx="2">
                  <c:v>28</c:v>
                </c:pt>
                <c:pt idx="3">
                  <c:v>250</c:v>
                </c:pt>
                <c:pt idx="4">
                  <c:v>306</c:v>
                </c:pt>
                <c:pt idx="5">
                  <c:v>4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1.–
6.2.</c:v>
                </c:pt>
                <c:pt idx="1">
                  <c:v>7.2.–
13.2.</c:v>
                </c:pt>
                <c:pt idx="2">
                  <c:v>14.2.–
20.2.</c:v>
                </c:pt>
                <c:pt idx="3">
                  <c:v>21.2.–
27.2.</c:v>
                </c:pt>
                <c:pt idx="4">
                  <c:v>28.2.–
6.3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81</c:v>
                </c:pt>
                <c:pt idx="1">
                  <c:v>784</c:v>
                </c:pt>
                <c:pt idx="2">
                  <c:v>332</c:v>
                </c:pt>
                <c:pt idx="3">
                  <c:v>251</c:v>
                </c:pt>
                <c:pt idx="4">
                  <c:v>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E9-40FD-BA37-B2E6F9358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859999999999999</c:v>
                </c:pt>
                <c:pt idx="1">
                  <c:v>0.181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explosion val="1"/>
          <c:dPt>
            <c:idx val="0"/>
            <c:bubble3D val="0"/>
            <c:explosion val="3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dLbl>
              <c:idx val="0"/>
              <c:layout>
                <c:manualLayout>
                  <c:x val="-0.23847481928522815"/>
                  <c:y val="-0.1349002337563882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751296037830877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C4E-4B6D-BC39-F29FC08BBEF3}"/>
                </c:ext>
              </c:extLst>
            </c:dLbl>
            <c:dLbl>
              <c:idx val="1"/>
              <c:layout>
                <c:manualLayout>
                  <c:x val="0.22867473090205878"/>
                  <c:y val="0.195518539197765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950950427742643"/>
                      <c:h val="0.1675929098597689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C4E-4B6D-BC39-F29FC08BBE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72</c:v>
                </c:pt>
                <c:pt idx="1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19551252206363898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0.19018843929624771"/>
                  <c:y val="9.51762091785217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60199999999999998</c:v>
                </c:pt>
                <c:pt idx="1">
                  <c:v>0.39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7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chart" Target="../charts/chart10.xml"/><Relationship Id="rId5" Type="http://schemas.openxmlformats.org/officeDocument/2006/relationships/tags" Target="../tags/tag15.xml"/><Relationship Id="rId10" Type="http://schemas.openxmlformats.org/officeDocument/2006/relationships/chart" Target="../charts/chart9.xml"/><Relationship Id="rId4" Type="http://schemas.openxmlformats.org/officeDocument/2006/relationships/tags" Target="../tags/tag14.xml"/><Relationship Id="rId9" Type="http://schemas.openxmlformats.org/officeDocument/2006/relationships/chart" Target="../charts/char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chart" Target="../charts/chart1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chart" Target="../charts/chart12.xml"/><Relationship Id="rId5" Type="http://schemas.openxmlformats.org/officeDocument/2006/relationships/tags" Target="../tags/tag22.xml"/><Relationship Id="rId10" Type="http://schemas.openxmlformats.org/officeDocument/2006/relationships/chart" Target="../charts/chart11.xml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5.xml"/><Relationship Id="rId5" Type="http://schemas.openxmlformats.org/officeDocument/2006/relationships/chart" Target="../charts/chart14.xml"/><Relationship Id="rId4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chart" Target="../charts/chart17.xml"/><Relationship Id="rId5" Type="http://schemas.openxmlformats.org/officeDocument/2006/relationships/chart" Target="../charts/chart16.xml"/><Relationship Id="rId4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chart" Target="../charts/chart2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7. 11. – 14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6081177"/>
              </p:ext>
            </p:extLst>
          </p:nvPr>
        </p:nvGraphicFramePr>
        <p:xfrm>
          <a:off x="1372685" y="1009672"/>
          <a:ext cx="9684753" cy="550315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949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330371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4759251"/>
                  </a:ext>
                </a:extLst>
              </a:tr>
              <a:tr h="3572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9948375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71292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977405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267875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286697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283737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é sen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703661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140054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nna Český Br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7622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mácí péče Samopš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428858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Domov Barevný svět, Petř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390345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01889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868301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ROŽNOV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1729306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 DPS Záku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Pampeliš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polek Klidné stáří, Březová 372/83, Děčín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2. – 31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266196"/>
              </p:ext>
            </p:extLst>
          </p:nvPr>
        </p:nvGraphicFramePr>
        <p:xfrm>
          <a:off x="1372685" y="1009673"/>
          <a:ext cx="9684753" cy="538161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192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 srdci klíč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orní Bran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pečovatelský dům U Jakuba II, Červený Koste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humanity - Azylový dů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orav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y RUAH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UMORAVY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ASVIZ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Dolní Počer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 Nemocnice Vi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Loucký Mlý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885821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87299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VATAVA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143495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980781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CPS Vodň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45884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ZAŠOVÁ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9612077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GAPO Bruntá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835001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Šluknov-Krásná Lípa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902963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verka Jiř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4353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31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5928296"/>
              </p:ext>
            </p:extLst>
          </p:nvPr>
        </p:nvGraphicFramePr>
        <p:xfrm>
          <a:off x="1372685" y="1009672"/>
          <a:ext cx="9684753" cy="550316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85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Dač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Ječmínek Z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s.Zdisl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Ludmil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u Agát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U Vršovického nádraží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Vlašsk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ouse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chy Kůs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AMICA 3 -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ršovická zdravotní, rehabilitace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ALMEZ22 VS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írenská Praha 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Vrchlab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zrakově postižené Palata, Praha 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ETRA Mačk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Svit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Hedviky Kravař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 Mnichovo Hradiště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, Komenského 6, 382 26 Horní Plan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DS Máj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58551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6 -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AVOROVA K. VARY -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8843817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ZBOROVICE22 K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509063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OTROK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857555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Zahradní město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Louck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k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79750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9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5. 3. 2022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F7E221A7-C6C9-47E2-BB32-2A8D1AB67A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71580"/>
              </p:ext>
            </p:extLst>
          </p:nvPr>
        </p:nvGraphicFramePr>
        <p:xfrm>
          <a:off x="1372685" y="1009672"/>
          <a:ext cx="9684753" cy="540065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117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Hagibor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Česká J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áchova Prah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Slivenec s.r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KUNOV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ELEHRAD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DĚJE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centrum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Jablonecké Paseky, p. 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 zvláštním režim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rbno p.P., Mnichov 2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D Malá Čermná 42 l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rizont,p.o. - odd B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rnov, Rooseveltova 51, 79401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Třebo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5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rsek Olš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765747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27476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u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27948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anž. Curieových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00367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0. 2. – 16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0447407"/>
              </p:ext>
            </p:extLst>
          </p:nvPr>
        </p:nvGraphicFramePr>
        <p:xfrm>
          <a:off x="1372685" y="1009673"/>
          <a:ext cx="9684753" cy="532445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442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lementas Mlé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sy Dobrá Vo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Anežky Velký Újez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NÁVOJNÁ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ÁŽANY22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Osobl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Sněženková 8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MSSS Oáza II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projekt s.r.o.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Svobo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15, Parmsk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vízdal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Náměšť nad Osl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GF Alzheimer centrum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tenz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Ďáb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Fontá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21649236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Meziříčí, Zdenky Vorlové 21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2798790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5711495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72129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7. 2. – 5. 3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5. 3. 2022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0136422"/>
              </p:ext>
            </p:extLst>
          </p:nvPr>
        </p:nvGraphicFramePr>
        <p:xfrm>
          <a:off x="1372685" y="1009673"/>
          <a:ext cx="9684753" cy="53625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33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U Přehrady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ubešova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BUREŠOV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NLP Therapon 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LAZNE KYNZVART -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AZA LOUCKY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uknov, Křečanská 630, Šluk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n. M. I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domov a ZŠ Vrbno pod Praděd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lamovka, Praha 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Dobrá Vo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y na Orlic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OZP Dolní Poustev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21729014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DPSROŽNOV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3423867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BUCHLOV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7243140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Rybnič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72275993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Rybnič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48891181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mku Lysá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214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tské centrum komplexní péče Benátky n. J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25654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97236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37831" y="622249"/>
            <a:ext cx="113270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o šíření nákazy v pobytových sociálních službách je ze strany poskytovatelů reprezentativní, celý systém dosahuje více než 81% pokrytí tohoto segmentu péče. Za celé období sledování od podzimu 2020 bylo registrováno přes 2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500 nakažených klientů a více než 21 100 nakažených pracovníků. Hlášení o úmrtích COVID pozitivních klientů přesáhlo 3 500, pracovníků zemřelo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9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53656" y="194887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237830" y="2466327"/>
            <a:ext cx="1168747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byl z těchto individuálních hlášení patrný nárůst počtu nakažených ve srovnání </a:t>
            </a:r>
          </a:p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říjnem 2021. Tato data tedy nezávisle potvrzují nálezy zjištěné epidemiologickými šetřeními ze strany KHS. Za měsíc listopad bylo nahlášeno 9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pracovníků a 8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klientů pobytových sociálních služeb. Počet hlášených úmrtí klientů dosáhnul v listopadu hodnoty 11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Ačkoli šlo o výrazný nárůst, stále se jednalo o počty významně nižší než v zimních až jarních měsících 2021. Za prosinec bylo na bázi přímého hlášení od poskytovatelů sociálních služeb registrováno 5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2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u personálu a 4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u klientů. Celkem 69 nakažených klientů zemřelo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5B31F110-680C-4708-9C37-E3C235162FCA}"/>
              </a:ext>
            </a:extLst>
          </p:cNvPr>
          <p:cNvSpPr/>
          <p:nvPr/>
        </p:nvSpPr>
        <p:spPr>
          <a:xfrm>
            <a:off x="5353656" y="4685753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57E8C22-BEEA-45FF-855F-3C6D2A9851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046" y="5155434"/>
            <a:ext cx="1157858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ednu bylo nahlášeno 1038 případů nákazy personálu a 434 klientů, z nichž 29 zemřelo, v únoru bylo nahlášeno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48 nákaz pracovníků a 1060 nákaz klientů, z nichž 68 zemřelo, v březnu (k 5. 3.) bylo hlášeno 95 případů nákazy personálu a 103 klientů, z nichž 13 zemřelo. Počty případů s těžkým průběhem nákazy, zejména vyžadujícím hospitalizaci, zůstávají nízké, v jednotkách případů denně v celé ČR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odnadpis 4">
            <a:extLst>
              <a:ext uri="{FF2B5EF4-FFF2-40B4-BE49-F238E27FC236}">
                <a16:creationId xmlns:a16="http://schemas.microsoft.com/office/drawing/2014/main" id="{8B62E79B-CD80-47C0-8863-8E66984EC330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lášení poskytovatelů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31900653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10410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1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2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6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7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1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6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7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1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34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86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659894"/>
            <a:ext cx="366184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bylo v databázi MPSV vedeno 4 438 zařízení  s 77 547 klienty a 102 575 pracovníky (Tyto údaje nejsou u všech zařízení zadány). Z tohoto počtu jich zadává do sociálního modulu ISIN 1726 zařízení. Z hlediska osob je pokrytí 81,9%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29221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3624" y="3303770"/>
          <a:ext cx="10232136" cy="3302770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2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5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1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8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5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9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0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1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7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2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4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2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6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0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0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9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2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6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6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8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1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4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25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5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5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4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762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41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203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8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0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5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7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76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4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20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5. 3. 2022</a:t>
            </a:r>
          </a:p>
        </p:txBody>
      </p:sp>
    </p:spTree>
    <p:extLst>
      <p:ext uri="{BB962C8B-B14F-4D97-AF65-F5344CB8AC3E}">
        <p14:creationId xmlns:p14="http://schemas.microsoft.com/office/powerpoint/2010/main" val="26203652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6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540765" y="2971287"/>
          <a:ext cx="10115198" cy="32536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78 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5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7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8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8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1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8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4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9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7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6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2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97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20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915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5. 3. 2022</a:t>
            </a:r>
          </a:p>
        </p:txBody>
      </p:sp>
    </p:spTree>
    <p:extLst>
      <p:ext uri="{BB962C8B-B14F-4D97-AF65-F5344CB8AC3E}">
        <p14:creationId xmlns:p14="http://schemas.microsoft.com/office/powerpoint/2010/main" val="13050299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5. 3. 2022</a:t>
            </a:r>
          </a:p>
        </p:txBody>
      </p:sp>
    </p:spTree>
    <p:extLst>
      <p:ext uri="{BB962C8B-B14F-4D97-AF65-F5344CB8AC3E}">
        <p14:creationId xmlns:p14="http://schemas.microsoft.com/office/powerpoint/2010/main" val="14446690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5. 3. 2022</a:t>
            </a:r>
          </a:p>
        </p:txBody>
      </p:sp>
    </p:spTree>
    <p:extLst>
      <p:ext uri="{BB962C8B-B14F-4D97-AF65-F5344CB8AC3E}">
        <p14:creationId xmlns:p14="http://schemas.microsoft.com/office/powerpoint/2010/main" val="4911525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130940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9622298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705967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389183"/>
              </p:ext>
            </p:extLst>
          </p:nvPr>
        </p:nvGraphicFramePr>
        <p:xfrm>
          <a:off x="19789" y="951384"/>
          <a:ext cx="12172206" cy="5641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810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301560235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1874325632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2289037344"/>
                    </a:ext>
                  </a:extLst>
                </a:gridCol>
                <a:gridCol w="307642">
                  <a:extLst>
                    <a:ext uri="{9D8B030D-6E8A-4147-A177-3AD203B41FA5}">
                      <a16:colId xmlns:a16="http://schemas.microsoft.com/office/drawing/2014/main" val="3821206977"/>
                    </a:ext>
                  </a:extLst>
                </a:gridCol>
              </a:tblGrid>
              <a:tr h="602838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řezen</a:t>
                      </a:r>
                      <a:b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 5. 3. 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283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6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6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342057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67470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7" y="934057"/>
          <a:ext cx="11671989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7268299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7" name="Tabulka 3">
            <a:extLst>
              <a:ext uri="{FF2B5EF4-FFF2-40B4-BE49-F238E27FC236}">
                <a16:creationId xmlns:a16="http://schemas.microsoft.com/office/drawing/2014/main" id="{EA3F3409-560C-4B9F-89F0-F5AF9408008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9789" y="988368"/>
          <a:ext cx="12093905" cy="56035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711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380247738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4483140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4093266905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784481097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řezen</a:t>
                      </a:r>
                      <a:b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 5. 3. 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72717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5832002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66699" y="1144575"/>
            <a:ext cx="1132702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Šlo ale o počty, které byly velmi významně nižší ve srovnání např. s jarem 2021. KHS identifikovaly za říjen 15 ohnisek v sociálních zařízeních (celkem 182 nakažených osob) a za listopad 36 ohnisek s celkem 645 dosud zařazenými nakaženými osobami. Za prosinec 2021 bylo z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e strany KHS identifikováno a nahlášeno 42 událostí v sociálních službách s celkem 592 nakaženými osobami. </a:t>
            </a:r>
          </a:p>
          <a:p>
            <a:pPr algn="ctr">
              <a:defRPr/>
            </a:pP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Za leden je hlášeno 33 událostí se 714 nakaženými, za únor je dosud nahlášeno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77 událostí s 1 787 nakaženými, za březen 2 události s 46 nakaženými (stav k 5. 3.).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V současnosti tedy registrujeme nárůst počtu nákaz následovaný opětovným poklesem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86398" y="5668316"/>
            <a:ext cx="1319062" cy="545849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odnadpis 4">
            <a:extLst>
              <a:ext uri="{FF2B5EF4-FFF2-40B4-BE49-F238E27FC236}">
                <a16:creationId xmlns:a16="http://schemas.microsoft.com/office/drawing/2014/main" id="{FD2CE6B4-35B6-4010-B3CB-EE34C0274624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400" b="1" dirty="0"/>
              <a:t>Výstupy šetření KHS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03681543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0085BF-8161-420C-8365-7D84A0FE2A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9566088"/>
              </p:ext>
            </p:extLst>
          </p:nvPr>
        </p:nvGraphicFramePr>
        <p:xfrm>
          <a:off x="1003518" y="5723959"/>
          <a:ext cx="10940921" cy="735210"/>
        </p:xfrm>
        <a:graphic>
          <a:graphicData uri="http://schemas.openxmlformats.org/drawingml/2006/table">
            <a:tbl>
              <a:tblPr/>
              <a:tblGrid>
                <a:gridCol w="112793">
                  <a:extLst>
                    <a:ext uri="{9D8B030D-6E8A-4147-A177-3AD203B41FA5}">
                      <a16:colId xmlns:a16="http://schemas.microsoft.com/office/drawing/2014/main" val="2924159468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128693319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800047136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416465361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972608810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209975097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760812834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419996820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582991861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162283876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892542463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21091178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100832070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297224202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990276299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623580664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824521167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4029315420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036477787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283326458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014829396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907107092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329604585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249935946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292701965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575542963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670322829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065333109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480279053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4225735395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23689364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958442537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596786802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943088640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4173508519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985006226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734077035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935862050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156038544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155496228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613605976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038958398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401442116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175292053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717162980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776378461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625384219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796193144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963992676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333133547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505146771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163338713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541372144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755832899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061269953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523958177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382383159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962837008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487299285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904711144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643759046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4025005943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789573043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558149599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433584213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4294551654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118714447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509162660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138099959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487990077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309145136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918981835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312358436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4121834586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127469042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570153946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49021164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82289222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787628462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54199855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627550699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619218396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937783988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4017286708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705608326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134808495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993212791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086707324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755206822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861380348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731374641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2065486763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973275613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821011367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1180306721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3865550185"/>
                    </a:ext>
                  </a:extLst>
                </a:gridCol>
                <a:gridCol w="112793">
                  <a:extLst>
                    <a:ext uri="{9D8B030D-6E8A-4147-A177-3AD203B41FA5}">
                      <a16:colId xmlns:a16="http://schemas.microsoft.com/office/drawing/2014/main" val="691848157"/>
                    </a:ext>
                  </a:extLst>
                </a:gridCol>
              </a:tblGrid>
              <a:tr h="3676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5922114"/>
                  </a:ext>
                </a:extLst>
              </a:tr>
              <a:tr h="3676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9821467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1951357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5. 3. 2022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81D70FC-F528-494D-8C3A-D477F854D763}"/>
              </a:ext>
            </a:extLst>
          </p:cNvPr>
          <p:cNvSpPr/>
          <p:nvPr/>
        </p:nvSpPr>
        <p:spPr>
          <a:xfrm>
            <a:off x="10842357" y="3390334"/>
            <a:ext cx="11544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předběžné údaje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E67781F-87FB-42C9-899D-4460B89C4830}"/>
              </a:ext>
            </a:extLst>
          </p:cNvPr>
          <p:cNvSpPr/>
          <p:nvPr/>
        </p:nvSpPr>
        <p:spPr>
          <a:xfrm>
            <a:off x="11753266" y="4716302"/>
            <a:ext cx="2487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802625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898717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832104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76C3E24-E9E7-4202-8B48-A71690432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3573119"/>
              </p:ext>
            </p:extLst>
          </p:nvPr>
        </p:nvGraphicFramePr>
        <p:xfrm>
          <a:off x="7428768" y="5737704"/>
          <a:ext cx="4564879" cy="731520"/>
        </p:xfrm>
        <a:graphic>
          <a:graphicData uri="http://schemas.openxmlformats.org/drawingml/2006/table">
            <a:tbl>
              <a:tblPr/>
              <a:tblGrid>
                <a:gridCol w="198473">
                  <a:extLst>
                    <a:ext uri="{9D8B030D-6E8A-4147-A177-3AD203B41FA5}">
                      <a16:colId xmlns:a16="http://schemas.microsoft.com/office/drawing/2014/main" val="4054237852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2887560556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669225899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591214454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902376461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4062836956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340405007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662611128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767709424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196272421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873263194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2352877774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842178275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24679403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761294311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2804101211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634789528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163544956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479461060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631059703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482498870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948063352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942666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045984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1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6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2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0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53041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546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5. 3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4141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2780955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03/2022 k 5. 3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619445" y="5534255"/>
            <a:ext cx="4956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5. 3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1013438"/>
              </p:ext>
            </p:extLst>
          </p:nvPr>
        </p:nvGraphicFramePr>
        <p:xfrm>
          <a:off x="123825" y="914354"/>
          <a:ext cx="6483890" cy="5641271"/>
        </p:xfrm>
        <a:graphic>
          <a:graphicData uri="http://schemas.openxmlformats.org/drawingml/2006/table">
            <a:tbl>
              <a:tblPr/>
              <a:tblGrid>
                <a:gridCol w="522545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33585517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804655378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459635882"/>
                    </a:ext>
                  </a:extLst>
                </a:gridCol>
              </a:tblGrid>
              <a:tr h="59263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událostí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2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5. 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044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2E8C36D6-DA3C-4986-BAE3-2CCA3C1995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8834508"/>
              </p:ext>
            </p:extLst>
          </p:nvPr>
        </p:nvGraphicFramePr>
        <p:xfrm>
          <a:off x="7428768" y="1226200"/>
          <a:ext cx="4564856" cy="463535"/>
        </p:xfrm>
        <a:graphic>
          <a:graphicData uri="http://schemas.openxmlformats.org/drawingml/2006/table">
            <a:tbl>
              <a:tblPr/>
              <a:tblGrid>
                <a:gridCol w="198472">
                  <a:extLst>
                    <a:ext uri="{9D8B030D-6E8A-4147-A177-3AD203B41FA5}">
                      <a16:colId xmlns:a16="http://schemas.microsoft.com/office/drawing/2014/main" val="2007565473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299315511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3675066560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2550847649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3666919793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2667690919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38830547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666415007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35980331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571387238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780286499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644994323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264606494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53434360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3321820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3010799213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890011211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01598118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2033443561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4189009272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006961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178306335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847419719"/>
                    </a:ext>
                  </a:extLst>
                </a:gridCol>
              </a:tblGrid>
              <a:tr h="97775"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102338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0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8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2</a:t>
                      </a:r>
                    </a:p>
                  </a:txBody>
                  <a:tcPr marL="7144" marR="7144" marT="714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69450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249595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347409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6152088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892388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6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02025"/>
              </p:ext>
            </p:extLst>
          </p:nvPr>
        </p:nvGraphicFramePr>
        <p:xfrm>
          <a:off x="1372685" y="1009673"/>
          <a:ext cx="9684753" cy="523877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60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478578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480291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81006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84974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BF858DAD-DC20-4393-92A6-B21E618FFA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1103461"/>
              </p:ext>
            </p:extLst>
          </p:nvPr>
        </p:nvGraphicFramePr>
        <p:xfrm>
          <a:off x="8809626" y="987423"/>
          <a:ext cx="639173" cy="5460980"/>
        </p:xfrm>
        <a:graphic>
          <a:graphicData uri="http://schemas.openxmlformats.org/drawingml/2006/table">
            <a:tbl>
              <a:tblPr/>
              <a:tblGrid>
                <a:gridCol w="639173">
                  <a:extLst>
                    <a:ext uri="{9D8B030D-6E8A-4147-A177-3AD203B41FA5}">
                      <a16:colId xmlns:a16="http://schemas.microsoft.com/office/drawing/2014/main" val="677865195"/>
                    </a:ext>
                  </a:extLst>
                </a:gridCol>
              </a:tblGrid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0857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74326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165018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529659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352130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272571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832210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245032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740778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77696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0817798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138711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456917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98279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91647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22984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331412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22881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67085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008512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241527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510467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17853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730675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866007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464432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72348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85866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5. 3. 2022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9627534"/>
              </p:ext>
            </p:extLst>
          </p:nvPr>
        </p:nvGraphicFramePr>
        <p:xfrm>
          <a:off x="1093233" y="762000"/>
          <a:ext cx="8958646" cy="5686417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2591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2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 0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4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0C3D934-3936-4830-AA8A-16275D2CB2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5916148"/>
              </p:ext>
            </p:extLst>
          </p:nvPr>
        </p:nvGraphicFramePr>
        <p:xfrm>
          <a:off x="8781368" y="1159938"/>
          <a:ext cx="705532" cy="5288490"/>
        </p:xfrm>
        <a:graphic>
          <a:graphicData uri="http://schemas.openxmlformats.org/drawingml/2006/table">
            <a:tbl>
              <a:tblPr/>
              <a:tblGrid>
                <a:gridCol w="705532">
                  <a:extLst>
                    <a:ext uri="{9D8B030D-6E8A-4147-A177-3AD203B41FA5}">
                      <a16:colId xmlns:a16="http://schemas.microsoft.com/office/drawing/2014/main" val="2135004617"/>
                    </a:ext>
                  </a:extLst>
                </a:gridCol>
              </a:tblGrid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7895306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182945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28487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954332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66862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171857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8548056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61459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476039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591549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01842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71491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770570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7258384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35667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855926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5838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64669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683757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9367174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26588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722666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29179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51389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204894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977212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09198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5. 3. 2022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9476128"/>
              </p:ext>
            </p:extLst>
          </p:nvPr>
        </p:nvGraphicFramePr>
        <p:xfrm>
          <a:off x="1104900" y="718064"/>
          <a:ext cx="8958646" cy="5730352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411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628 (2 39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92 (12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055 (26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79 (5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0 350 (1 12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64 (4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69 (85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 (1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7 (1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7 (11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46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9 (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71EB03AE-4054-44F7-9254-79404469E2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827552"/>
              </p:ext>
            </p:extLst>
          </p:nvPr>
        </p:nvGraphicFramePr>
        <p:xfrm>
          <a:off x="7362824" y="5543019"/>
          <a:ext cx="4554645" cy="874168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4475726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01564370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3793600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67328475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886359018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569438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178867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2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791593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4927063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424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48EACD34-87EE-4F3C-A456-66279421AF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2412689"/>
              </p:ext>
            </p:extLst>
          </p:nvPr>
        </p:nvGraphicFramePr>
        <p:xfrm>
          <a:off x="7349382" y="5543020"/>
          <a:ext cx="4568088" cy="853440"/>
        </p:xfrm>
        <a:graphic>
          <a:graphicData uri="http://schemas.openxmlformats.org/drawingml/2006/table">
            <a:tbl>
              <a:tblPr/>
              <a:tblGrid>
                <a:gridCol w="761348">
                  <a:extLst>
                    <a:ext uri="{9D8B030D-6E8A-4147-A177-3AD203B41FA5}">
                      <a16:colId xmlns:a16="http://schemas.microsoft.com/office/drawing/2014/main" val="188258750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2766418493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1396325399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4103809656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2389849566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14063261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202683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76604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5162896"/>
              </p:ext>
            </p:extLst>
          </p:nvPr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4393993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2 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619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4198634-9DE1-4ABE-ABE2-EBA382E34C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9238807"/>
              </p:ext>
            </p:extLst>
          </p:nvPr>
        </p:nvGraphicFramePr>
        <p:xfrm>
          <a:off x="7362822" y="5556199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41532877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371503168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58226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822866413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66910644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2100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41038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2 k 5. 3.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5. 3. 2022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2CB9E723-90D4-4DF3-A4C1-04A567932C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6134695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4 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69D9846B-2D40-4943-BE29-D639CD1CAD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44444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Obdélník 13">
            <a:extLst>
              <a:ext uri="{FF2B5EF4-FFF2-40B4-BE49-F238E27FC236}">
                <a16:creationId xmlns:a16="http://schemas.microsoft.com/office/drawing/2014/main" id="{06C48139-6AD8-42FC-87EB-B78B92AFE7B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1" name="Tabulka 14">
            <a:extLst>
              <a:ext uri="{FF2B5EF4-FFF2-40B4-BE49-F238E27FC236}">
                <a16:creationId xmlns:a16="http://schemas.microsoft.com/office/drawing/2014/main" id="{3F51155A-4EFC-474B-BC5A-8553005EE892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6637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836</TotalTime>
  <Words>16881</Words>
  <Application>Microsoft Office PowerPoint</Application>
  <PresentationFormat>Širokoúhlá obrazovka</PresentationFormat>
  <Paragraphs>7221</Paragraphs>
  <Slides>63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63</vt:i4>
      </vt:variant>
    </vt:vector>
  </HeadingPairs>
  <TitlesOfParts>
    <vt:vector size="67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užík Jan RNDr. Ph.D.</cp:lastModifiedBy>
  <cp:revision>638</cp:revision>
  <dcterms:created xsi:type="dcterms:W3CDTF">2020-11-14T10:09:00Z</dcterms:created>
  <dcterms:modified xsi:type="dcterms:W3CDTF">2022-03-06T12:52:54Z</dcterms:modified>
</cp:coreProperties>
</file>